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84" r:id="rId1"/>
  </p:sldMasterIdLst>
  <p:notesMasterIdLst>
    <p:notesMasterId r:id="rId25"/>
  </p:notesMasterIdLst>
  <p:handoutMasterIdLst>
    <p:handoutMasterId r:id="rId26"/>
  </p:handoutMasterIdLst>
  <p:sldIdLst>
    <p:sldId id="256" r:id="rId2"/>
    <p:sldId id="330" r:id="rId3"/>
    <p:sldId id="311" r:id="rId4"/>
    <p:sldId id="327" r:id="rId5"/>
    <p:sldId id="322" r:id="rId6"/>
    <p:sldId id="1048" r:id="rId7"/>
    <p:sldId id="282" r:id="rId8"/>
    <p:sldId id="318" r:id="rId9"/>
    <p:sldId id="1062" r:id="rId10"/>
    <p:sldId id="1066" r:id="rId11"/>
    <p:sldId id="1067" r:id="rId12"/>
    <p:sldId id="1068" r:id="rId13"/>
    <p:sldId id="1055" r:id="rId14"/>
    <p:sldId id="1056" r:id="rId15"/>
    <p:sldId id="316" r:id="rId16"/>
    <p:sldId id="1054" r:id="rId17"/>
    <p:sldId id="1053" r:id="rId18"/>
    <p:sldId id="287" r:id="rId19"/>
    <p:sldId id="288" r:id="rId20"/>
    <p:sldId id="1058" r:id="rId21"/>
    <p:sldId id="1059" r:id="rId22"/>
    <p:sldId id="1057" r:id="rId23"/>
    <p:sldId id="261" r:id="rId24"/>
  </p:sldIdLst>
  <p:sldSz cx="12192000" cy="6858000"/>
  <p:notesSz cx="6858000" cy="9144000"/>
  <p:embeddedFontLst>
    <p:embeddedFont>
      <p:font typeface="黑体" panose="02010609060101010101" pitchFamily="49" charset="-122"/>
      <p:regular r:id="rId27"/>
    </p:embeddedFont>
    <p:embeddedFont>
      <p:font typeface="Iowan Old Style Roman" panose="02040602040506020204" pitchFamily="18" charset="77"/>
      <p:regular r:id="rId2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28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88"/>
    <p:restoredTop sz="94694"/>
  </p:normalViewPr>
  <p:slideViewPr>
    <p:cSldViewPr snapToGrid="0" snapToObjects="1">
      <p:cViewPr varScale="1">
        <p:scale>
          <a:sx n="121" d="100"/>
          <a:sy n="121" d="100"/>
        </p:scale>
        <p:origin x="140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112" d="100"/>
          <a:sy n="112" d="100"/>
        </p:scale>
        <p:origin x="6632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0F97509-69B2-1F49-908E-4A26319086A6}" type="doc">
      <dgm:prSet loTypeId="urn:microsoft.com/office/officeart/2008/layout/Lin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A85E2D5A-31D8-3848-A2B1-9B4295FD2BF7}">
      <dgm:prSet custT="1"/>
      <dgm:spPr/>
      <dgm:t>
        <a:bodyPr/>
        <a:lstStyle/>
        <a:p>
          <a:pPr rtl="0"/>
          <a:r>
            <a:rPr lang="en-US" altLang="ko-KR" sz="2400" b="1" dirty="0">
              <a:solidFill>
                <a:schemeClr val="accent1"/>
              </a:solidFill>
              <a:cs typeface="Arial" pitchFamily="34" charset="0"/>
            </a:rPr>
            <a:t>01 - </a:t>
          </a:r>
          <a:r>
            <a:rPr lang="en-US" sz="2400" dirty="0">
              <a:latin typeface="Arial" panose="020B0604020202020204" pitchFamily="34" charset="0"/>
              <a:cs typeface="Arial" panose="020B0604020202020204" pitchFamily="34" charset="0"/>
            </a:rPr>
            <a:t>Database Security</a:t>
          </a:r>
        </a:p>
      </dgm:t>
    </dgm:pt>
    <dgm:pt modelId="{4DED99A1-FF44-9647-B804-785A63F87AAF}" type="parTrans" cxnId="{4B172087-EB8B-A648-AAC3-82B98B087E6F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BCA29FC-C63E-7F44-BDFB-42D984C178FD}" type="sibTrans" cxnId="{4B172087-EB8B-A648-AAC3-82B98B087E6F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CF39635-EFE0-E047-860A-B51468BAAE10}">
      <dgm:prSet custT="1"/>
      <dgm:spPr/>
      <dgm:t>
        <a:bodyPr/>
        <a:lstStyle/>
        <a:p>
          <a:pPr rtl="0"/>
          <a:r>
            <a:rPr lang="en-GB" sz="2400" kern="1200" dirty="0">
              <a:solidFill>
                <a:schemeClr val="accent5">
                  <a:lumMod val="40000"/>
                  <a:lumOff val="60000"/>
                </a:scheme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05 - </a:t>
          </a:r>
          <a:r>
            <a:rPr lang="en-GB" sz="2400" kern="1200" dirty="0">
              <a:solidFill>
                <a:srgbClr val="5C5C5C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Encryption</a:t>
          </a:r>
          <a:endParaRPr lang="en-US" sz="2400" kern="1200" dirty="0">
            <a:solidFill>
              <a:srgbClr val="5C5C5C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DIN Condensed Bold"/>
            <a:cs typeface="Arial" panose="020B0604020202020204" pitchFamily="34" charset="0"/>
          </a:endParaRPr>
        </a:p>
      </dgm:t>
    </dgm:pt>
    <dgm:pt modelId="{9F34FE2C-76F9-394E-88CB-DFEFEF5EFAB8}" type="parTrans" cxnId="{036DB0E7-F712-3D4F-82BF-DB893B07E56D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90DA283-CEF0-2E4E-AC80-32E3A685D5CB}" type="sibTrans" cxnId="{036DB0E7-F712-3D4F-82BF-DB893B07E56D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8FE8C0-63AB-F346-8BA4-6A5439ACA803}">
      <dgm:prSet custT="1"/>
      <dgm:spPr/>
      <dgm:t>
        <a:bodyPr/>
        <a:lstStyle/>
        <a:p>
          <a:pPr>
            <a:buSzPts val="2000"/>
            <a:buFont typeface="Arial"/>
            <a:buChar char="•"/>
          </a:pPr>
          <a:r>
            <a:rPr lang="en-GB" sz="2400" kern="1200" dirty="0">
              <a:solidFill>
                <a:schemeClr val="accent4"/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02 - </a:t>
          </a:r>
          <a:r>
            <a:rPr lang="en-GB" sz="2400" kern="1200" dirty="0">
              <a:solidFill>
                <a:srgbClr val="5C5C5C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Authentication</a:t>
          </a:r>
          <a:endParaRPr lang="en-US" sz="2400" kern="1200" dirty="0">
            <a:solidFill>
              <a:srgbClr val="5C5C5C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DIN Condensed Bold"/>
            <a:cs typeface="Arial" panose="020B0604020202020204" pitchFamily="34" charset="0"/>
          </a:endParaRPr>
        </a:p>
      </dgm:t>
    </dgm:pt>
    <dgm:pt modelId="{9DA48390-ECD9-444E-85F5-9389D200B5CC}" type="parTrans" cxnId="{8FE26912-B8DA-C54F-A1F8-B6897D0BFE41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6884DF-3869-494B-8B4E-661124A5550E}" type="sibTrans" cxnId="{8FE26912-B8DA-C54F-A1F8-B6897D0BFE41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5D5BFF2-FD27-B44F-BE64-D52D506C8591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0" dirty="0">
              <a:solidFill>
                <a:srgbClr val="0070C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07 - </a:t>
          </a:r>
          <a:r>
            <a:rPr lang="en-US" sz="24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Question / Answers</a:t>
          </a:r>
        </a:p>
      </dgm:t>
    </dgm:pt>
    <dgm:pt modelId="{75763CE6-123E-2340-B020-243B90C60D31}" type="parTrans" cxnId="{3A3B9951-527F-DA42-ADD9-A73DAD8A65BA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5FC0CC-376B-FE41-BB1B-DC945224B901}" type="sibTrans" cxnId="{3A3B9951-527F-DA42-ADD9-A73DAD8A65BA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6AD725-51CC-4A44-B532-C1CA28D83206}">
      <dgm:prSet custT="1"/>
      <dgm:spPr/>
      <dgm:t>
        <a:bodyPr/>
        <a:lstStyle/>
        <a:p>
          <a:pPr>
            <a:buSzPts val="2000"/>
            <a:buFont typeface="Arial"/>
            <a:buChar char="•"/>
          </a:pPr>
          <a:r>
            <a:rPr lang="en-GB" sz="2400" kern="1200" dirty="0">
              <a:solidFill>
                <a:schemeClr val="accent4"/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04 - </a:t>
          </a:r>
          <a:r>
            <a:rPr lang="en-GB" sz="2400" kern="1200" dirty="0">
              <a:solidFill>
                <a:srgbClr val="5C5C5C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Accounting </a:t>
          </a:r>
        </a:p>
      </dgm:t>
    </dgm:pt>
    <dgm:pt modelId="{71BF137B-C79C-8E42-9D29-3A327DF1535D}" type="parTrans" cxnId="{A36AC803-0A3E-FD43-8E3A-17A016A091EB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DB4AF3A-1122-FC43-B9EF-9C77D011B69B}" type="sibTrans" cxnId="{A36AC803-0A3E-FD43-8E3A-17A016A091EB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7BAD13A-BADA-E346-9AB7-3C89C1B6E46C}">
      <dgm:prSet custT="1"/>
      <dgm:spPr/>
      <dgm:t>
        <a:bodyPr/>
        <a:lstStyle/>
        <a:p>
          <a:pPr rtl="0"/>
          <a:r>
            <a:rPr lang="en-US" sz="2400" b="0" dirty="0">
              <a:solidFill>
                <a:srgbClr val="00B0F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06 - </a:t>
          </a:r>
          <a:r>
            <a:rPr lang="en-US" sz="24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Security Best Practices</a:t>
          </a:r>
          <a:endParaRPr lang="en-US" sz="24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D97268-B39B-114F-B919-9D7AAD226D5E}" type="sibTrans" cxnId="{73C6E650-319A-8943-AA49-24BC30D8C0C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6A08043-162F-424B-8787-51DD6C0D8CBA}" type="parTrans" cxnId="{73C6E650-319A-8943-AA49-24BC30D8C0C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0AD0A7-14C9-0F4D-B321-C57BF725AB7A}">
      <dgm:prSet custT="1"/>
      <dgm:spPr/>
      <dgm:t>
        <a:bodyPr/>
        <a:lstStyle/>
        <a:p>
          <a:r>
            <a:rPr lang="en-GB" sz="2400" kern="1200" dirty="0">
              <a:solidFill>
                <a:schemeClr val="accent3"/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03 - </a:t>
          </a:r>
          <a:r>
            <a:rPr lang="en-GB" sz="2400" kern="1200" dirty="0">
              <a:solidFill>
                <a:srgbClr val="5C5C5C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Authorization</a:t>
          </a:r>
        </a:p>
      </dgm:t>
    </dgm:pt>
    <dgm:pt modelId="{90628E32-B0CD-E44A-B19C-06FB2DCB51B1}" type="parTrans" cxnId="{D534BA35-D2F4-EC46-AA2C-4C59A3EBEE58}">
      <dgm:prSet/>
      <dgm:spPr/>
      <dgm:t>
        <a:bodyPr/>
        <a:lstStyle/>
        <a:p>
          <a:endParaRPr lang="en-GB"/>
        </a:p>
      </dgm:t>
    </dgm:pt>
    <dgm:pt modelId="{85243856-5C1B-FD41-A891-C9449C03A356}" type="sibTrans" cxnId="{D534BA35-D2F4-EC46-AA2C-4C59A3EBEE58}">
      <dgm:prSet/>
      <dgm:spPr/>
      <dgm:t>
        <a:bodyPr/>
        <a:lstStyle/>
        <a:p>
          <a:endParaRPr lang="en-GB"/>
        </a:p>
      </dgm:t>
    </dgm:pt>
    <dgm:pt modelId="{040C6162-58E7-714D-89FE-09B8F58093A0}" type="pres">
      <dgm:prSet presAssocID="{D0F97509-69B2-1F49-908E-4A26319086A6}" presName="vert0" presStyleCnt="0">
        <dgm:presLayoutVars>
          <dgm:dir/>
          <dgm:animOne val="branch"/>
          <dgm:animLvl val="lvl"/>
        </dgm:presLayoutVars>
      </dgm:prSet>
      <dgm:spPr/>
    </dgm:pt>
    <dgm:pt modelId="{32BE0FEA-9A38-2E4D-B8AD-2DD478EB3C84}" type="pres">
      <dgm:prSet presAssocID="{A85E2D5A-31D8-3848-A2B1-9B4295FD2BF7}" presName="thickLine" presStyleLbl="alignNode1" presStyleIdx="0" presStyleCnt="7"/>
      <dgm:spPr/>
    </dgm:pt>
    <dgm:pt modelId="{DF976840-A2BF-924F-A16E-26A52C8D21ED}" type="pres">
      <dgm:prSet presAssocID="{A85E2D5A-31D8-3848-A2B1-9B4295FD2BF7}" presName="horz1" presStyleCnt="0"/>
      <dgm:spPr/>
    </dgm:pt>
    <dgm:pt modelId="{432417E0-DC1E-D94A-9241-3508F3F14D86}" type="pres">
      <dgm:prSet presAssocID="{A85E2D5A-31D8-3848-A2B1-9B4295FD2BF7}" presName="tx1" presStyleLbl="revTx" presStyleIdx="0" presStyleCnt="7"/>
      <dgm:spPr/>
    </dgm:pt>
    <dgm:pt modelId="{465BA7F9-E313-DF4C-87E2-D33E00E05CEE}" type="pres">
      <dgm:prSet presAssocID="{A85E2D5A-31D8-3848-A2B1-9B4295FD2BF7}" presName="vert1" presStyleCnt="0"/>
      <dgm:spPr/>
    </dgm:pt>
    <dgm:pt modelId="{5C9185CB-D4E4-584D-8103-BF6ADB5F9DBD}" type="pres">
      <dgm:prSet presAssocID="{B38FE8C0-63AB-F346-8BA4-6A5439ACA803}" presName="thickLine" presStyleLbl="alignNode1" presStyleIdx="1" presStyleCnt="7"/>
      <dgm:spPr/>
    </dgm:pt>
    <dgm:pt modelId="{3478B118-E6A4-6C43-8D3F-C37BFB658876}" type="pres">
      <dgm:prSet presAssocID="{B38FE8C0-63AB-F346-8BA4-6A5439ACA803}" presName="horz1" presStyleCnt="0"/>
      <dgm:spPr/>
    </dgm:pt>
    <dgm:pt modelId="{6C61D329-0DA8-A44A-AEE2-9188C79C69C7}" type="pres">
      <dgm:prSet presAssocID="{B38FE8C0-63AB-F346-8BA4-6A5439ACA803}" presName="tx1" presStyleLbl="revTx" presStyleIdx="1" presStyleCnt="7" custLinFactNeighborX="-355" custLinFactNeighborY="-17"/>
      <dgm:spPr/>
    </dgm:pt>
    <dgm:pt modelId="{3563C8E3-BC1C-1146-8C2A-EAF069F43867}" type="pres">
      <dgm:prSet presAssocID="{B38FE8C0-63AB-F346-8BA4-6A5439ACA803}" presName="vert1" presStyleCnt="0"/>
      <dgm:spPr/>
    </dgm:pt>
    <dgm:pt modelId="{C56E0FDA-5311-2049-BB58-270A088FDD14}" type="pres">
      <dgm:prSet presAssocID="{E30AD0A7-14C9-0F4D-B321-C57BF725AB7A}" presName="thickLine" presStyleLbl="alignNode1" presStyleIdx="2" presStyleCnt="7"/>
      <dgm:spPr/>
    </dgm:pt>
    <dgm:pt modelId="{ACF2EF74-BC44-704E-B3D2-ECDBAF682A0B}" type="pres">
      <dgm:prSet presAssocID="{E30AD0A7-14C9-0F4D-B321-C57BF725AB7A}" presName="horz1" presStyleCnt="0"/>
      <dgm:spPr/>
    </dgm:pt>
    <dgm:pt modelId="{49FA3C7B-ADB3-C04B-A043-CCF459C1AC33}" type="pres">
      <dgm:prSet presAssocID="{E30AD0A7-14C9-0F4D-B321-C57BF725AB7A}" presName="tx1" presStyleLbl="revTx" presStyleIdx="2" presStyleCnt="7"/>
      <dgm:spPr/>
    </dgm:pt>
    <dgm:pt modelId="{871662FB-B379-FE44-A1EF-A4326BEC74F7}" type="pres">
      <dgm:prSet presAssocID="{E30AD0A7-14C9-0F4D-B321-C57BF725AB7A}" presName="vert1" presStyleCnt="0"/>
      <dgm:spPr/>
    </dgm:pt>
    <dgm:pt modelId="{CBD1400C-A64D-814B-9A5F-2EE9933C160F}" type="pres">
      <dgm:prSet presAssocID="{3F6AD725-51CC-4A44-B532-C1CA28D83206}" presName="thickLine" presStyleLbl="alignNode1" presStyleIdx="3" presStyleCnt="7"/>
      <dgm:spPr/>
    </dgm:pt>
    <dgm:pt modelId="{ABD84BC7-8B79-AA47-9D7D-E6B9B0258D55}" type="pres">
      <dgm:prSet presAssocID="{3F6AD725-51CC-4A44-B532-C1CA28D83206}" presName="horz1" presStyleCnt="0"/>
      <dgm:spPr/>
    </dgm:pt>
    <dgm:pt modelId="{10644019-0DBF-D848-B1A1-431A28CC56D4}" type="pres">
      <dgm:prSet presAssocID="{3F6AD725-51CC-4A44-B532-C1CA28D83206}" presName="tx1" presStyleLbl="revTx" presStyleIdx="3" presStyleCnt="7"/>
      <dgm:spPr/>
    </dgm:pt>
    <dgm:pt modelId="{1CB90876-A278-824F-ABE7-A39FB76EDFDE}" type="pres">
      <dgm:prSet presAssocID="{3F6AD725-51CC-4A44-B532-C1CA28D83206}" presName="vert1" presStyleCnt="0"/>
      <dgm:spPr/>
    </dgm:pt>
    <dgm:pt modelId="{EB7315BF-4859-0F48-BFC4-496C7DFC0AB4}" type="pres">
      <dgm:prSet presAssocID="{4CF39635-EFE0-E047-860A-B51468BAAE10}" presName="thickLine" presStyleLbl="alignNode1" presStyleIdx="4" presStyleCnt="7"/>
      <dgm:spPr/>
    </dgm:pt>
    <dgm:pt modelId="{E1E7AF2F-8667-B147-8E64-EE75F3AAA033}" type="pres">
      <dgm:prSet presAssocID="{4CF39635-EFE0-E047-860A-B51468BAAE10}" presName="horz1" presStyleCnt="0"/>
      <dgm:spPr/>
    </dgm:pt>
    <dgm:pt modelId="{4AF281F6-A7EB-1E41-BFA5-8F593645411E}" type="pres">
      <dgm:prSet presAssocID="{4CF39635-EFE0-E047-860A-B51468BAAE10}" presName="tx1" presStyleLbl="revTx" presStyleIdx="4" presStyleCnt="7"/>
      <dgm:spPr/>
    </dgm:pt>
    <dgm:pt modelId="{B5E9B422-2AD6-9748-9604-2143DA7E3A06}" type="pres">
      <dgm:prSet presAssocID="{4CF39635-EFE0-E047-860A-B51468BAAE10}" presName="vert1" presStyleCnt="0"/>
      <dgm:spPr/>
    </dgm:pt>
    <dgm:pt modelId="{A8D6A59E-2A80-C847-A515-DE23ED444985}" type="pres">
      <dgm:prSet presAssocID="{47BAD13A-BADA-E346-9AB7-3C89C1B6E46C}" presName="thickLine" presStyleLbl="alignNode1" presStyleIdx="5" presStyleCnt="7"/>
      <dgm:spPr/>
    </dgm:pt>
    <dgm:pt modelId="{7035F1AC-93C8-E649-B68F-2B8642C75032}" type="pres">
      <dgm:prSet presAssocID="{47BAD13A-BADA-E346-9AB7-3C89C1B6E46C}" presName="horz1" presStyleCnt="0"/>
      <dgm:spPr/>
    </dgm:pt>
    <dgm:pt modelId="{49FC1C0C-2624-5B41-AF76-88D4442A713D}" type="pres">
      <dgm:prSet presAssocID="{47BAD13A-BADA-E346-9AB7-3C89C1B6E46C}" presName="tx1" presStyleLbl="revTx" presStyleIdx="5" presStyleCnt="7"/>
      <dgm:spPr/>
    </dgm:pt>
    <dgm:pt modelId="{0FEEBCB1-E38B-CF46-A91B-6F4AA7D81C30}" type="pres">
      <dgm:prSet presAssocID="{47BAD13A-BADA-E346-9AB7-3C89C1B6E46C}" presName="vert1" presStyleCnt="0"/>
      <dgm:spPr/>
    </dgm:pt>
    <dgm:pt modelId="{D3E02165-3823-1247-8D8E-2715D52FB574}" type="pres">
      <dgm:prSet presAssocID="{85D5BFF2-FD27-B44F-BE64-D52D506C8591}" presName="thickLine" presStyleLbl="alignNode1" presStyleIdx="6" presStyleCnt="7"/>
      <dgm:spPr/>
    </dgm:pt>
    <dgm:pt modelId="{4201A2F2-2E1C-8C43-9D88-E7EA0507C95F}" type="pres">
      <dgm:prSet presAssocID="{85D5BFF2-FD27-B44F-BE64-D52D506C8591}" presName="horz1" presStyleCnt="0"/>
      <dgm:spPr/>
    </dgm:pt>
    <dgm:pt modelId="{76601C9A-E6D2-B04F-BCAB-8064EFEF6E7A}" type="pres">
      <dgm:prSet presAssocID="{85D5BFF2-FD27-B44F-BE64-D52D506C8591}" presName="tx1" presStyleLbl="revTx" presStyleIdx="6" presStyleCnt="7"/>
      <dgm:spPr/>
    </dgm:pt>
    <dgm:pt modelId="{C1ECB7CD-6016-1D4B-B20B-237BE5268A47}" type="pres">
      <dgm:prSet presAssocID="{85D5BFF2-FD27-B44F-BE64-D52D506C8591}" presName="vert1" presStyleCnt="0"/>
      <dgm:spPr/>
    </dgm:pt>
  </dgm:ptLst>
  <dgm:cxnLst>
    <dgm:cxn modelId="{A36AC803-0A3E-FD43-8E3A-17A016A091EB}" srcId="{D0F97509-69B2-1F49-908E-4A26319086A6}" destId="{3F6AD725-51CC-4A44-B532-C1CA28D83206}" srcOrd="3" destOrd="0" parTransId="{71BF137B-C79C-8E42-9D29-3A327DF1535D}" sibTransId="{8DB4AF3A-1122-FC43-B9EF-9C77D011B69B}"/>
    <dgm:cxn modelId="{8FE26912-B8DA-C54F-A1F8-B6897D0BFE41}" srcId="{D0F97509-69B2-1F49-908E-4A26319086A6}" destId="{B38FE8C0-63AB-F346-8BA4-6A5439ACA803}" srcOrd="1" destOrd="0" parTransId="{9DA48390-ECD9-444E-85F5-9389D200B5CC}" sibTransId="{E26884DF-3869-494B-8B4E-661124A5550E}"/>
    <dgm:cxn modelId="{DE72D521-2E1C-734E-BADC-E3761EDE737D}" type="presOf" srcId="{4CF39635-EFE0-E047-860A-B51468BAAE10}" destId="{4AF281F6-A7EB-1E41-BFA5-8F593645411E}" srcOrd="0" destOrd="0" presId="urn:microsoft.com/office/officeart/2008/layout/LinedList"/>
    <dgm:cxn modelId="{D534BA35-D2F4-EC46-AA2C-4C59A3EBEE58}" srcId="{D0F97509-69B2-1F49-908E-4A26319086A6}" destId="{E30AD0A7-14C9-0F4D-B321-C57BF725AB7A}" srcOrd="2" destOrd="0" parTransId="{90628E32-B0CD-E44A-B19C-06FB2DCB51B1}" sibTransId="{85243856-5C1B-FD41-A891-C9449C03A356}"/>
    <dgm:cxn modelId="{CE5BF235-2A26-5348-B939-813E5F95609B}" type="presOf" srcId="{47BAD13A-BADA-E346-9AB7-3C89C1B6E46C}" destId="{49FC1C0C-2624-5B41-AF76-88D4442A713D}" srcOrd="0" destOrd="0" presId="urn:microsoft.com/office/officeart/2008/layout/LinedList"/>
    <dgm:cxn modelId="{73C6E650-319A-8943-AA49-24BC30D8C0C6}" srcId="{D0F97509-69B2-1F49-908E-4A26319086A6}" destId="{47BAD13A-BADA-E346-9AB7-3C89C1B6E46C}" srcOrd="5" destOrd="0" parTransId="{B6A08043-162F-424B-8787-51DD6C0D8CBA}" sibTransId="{E6D97268-B39B-114F-B919-9D7AAD226D5E}"/>
    <dgm:cxn modelId="{3A3B9951-527F-DA42-ADD9-A73DAD8A65BA}" srcId="{D0F97509-69B2-1F49-908E-4A26319086A6}" destId="{85D5BFF2-FD27-B44F-BE64-D52D506C8591}" srcOrd="6" destOrd="0" parTransId="{75763CE6-123E-2340-B020-243B90C60D31}" sibTransId="{7E5FC0CC-376B-FE41-BB1B-DC945224B901}"/>
    <dgm:cxn modelId="{A571C775-426A-6748-8CD3-5B548A2CAE5C}" type="presOf" srcId="{A85E2D5A-31D8-3848-A2B1-9B4295FD2BF7}" destId="{432417E0-DC1E-D94A-9241-3508F3F14D86}" srcOrd="0" destOrd="0" presId="urn:microsoft.com/office/officeart/2008/layout/LinedList"/>
    <dgm:cxn modelId="{4B172087-EB8B-A648-AAC3-82B98B087E6F}" srcId="{D0F97509-69B2-1F49-908E-4A26319086A6}" destId="{A85E2D5A-31D8-3848-A2B1-9B4295FD2BF7}" srcOrd="0" destOrd="0" parTransId="{4DED99A1-FF44-9647-B804-785A63F87AAF}" sibTransId="{6BCA29FC-C63E-7F44-BDFB-42D984C178FD}"/>
    <dgm:cxn modelId="{627DE9CE-963A-C44A-8305-D7C93C65ED7B}" type="presOf" srcId="{D0F97509-69B2-1F49-908E-4A26319086A6}" destId="{040C6162-58E7-714D-89FE-09B8F58093A0}" srcOrd="0" destOrd="0" presId="urn:microsoft.com/office/officeart/2008/layout/LinedList"/>
    <dgm:cxn modelId="{505396DA-3F61-BE4B-9F75-32A3155CFB0D}" type="presOf" srcId="{B38FE8C0-63AB-F346-8BA4-6A5439ACA803}" destId="{6C61D329-0DA8-A44A-AEE2-9188C79C69C7}" srcOrd="0" destOrd="0" presId="urn:microsoft.com/office/officeart/2008/layout/LinedList"/>
    <dgm:cxn modelId="{ACA6BCE0-A10C-EE46-B77D-E06B522ED0B2}" type="presOf" srcId="{85D5BFF2-FD27-B44F-BE64-D52D506C8591}" destId="{76601C9A-E6D2-B04F-BCAB-8064EFEF6E7A}" srcOrd="0" destOrd="0" presId="urn:microsoft.com/office/officeart/2008/layout/LinedList"/>
    <dgm:cxn modelId="{84BAA9E3-D2FA-5447-A6F0-BC36745941D9}" type="presOf" srcId="{3F6AD725-51CC-4A44-B532-C1CA28D83206}" destId="{10644019-0DBF-D848-B1A1-431A28CC56D4}" srcOrd="0" destOrd="0" presId="urn:microsoft.com/office/officeart/2008/layout/LinedList"/>
    <dgm:cxn modelId="{5459F8E6-10A4-9744-BC64-4A70B9CBC7AB}" type="presOf" srcId="{E30AD0A7-14C9-0F4D-B321-C57BF725AB7A}" destId="{49FA3C7B-ADB3-C04B-A043-CCF459C1AC33}" srcOrd="0" destOrd="0" presId="urn:microsoft.com/office/officeart/2008/layout/LinedList"/>
    <dgm:cxn modelId="{036DB0E7-F712-3D4F-82BF-DB893B07E56D}" srcId="{D0F97509-69B2-1F49-908E-4A26319086A6}" destId="{4CF39635-EFE0-E047-860A-B51468BAAE10}" srcOrd="4" destOrd="0" parTransId="{9F34FE2C-76F9-394E-88CB-DFEFEF5EFAB8}" sibTransId="{390DA283-CEF0-2E4E-AC80-32E3A685D5CB}"/>
    <dgm:cxn modelId="{5EB71B66-D2C1-EC4D-876C-8859C55BF3E6}" type="presParOf" srcId="{040C6162-58E7-714D-89FE-09B8F58093A0}" destId="{32BE0FEA-9A38-2E4D-B8AD-2DD478EB3C84}" srcOrd="0" destOrd="0" presId="urn:microsoft.com/office/officeart/2008/layout/LinedList"/>
    <dgm:cxn modelId="{94C7D0A6-ADE6-854E-A097-28E3DD512818}" type="presParOf" srcId="{040C6162-58E7-714D-89FE-09B8F58093A0}" destId="{DF976840-A2BF-924F-A16E-26A52C8D21ED}" srcOrd="1" destOrd="0" presId="urn:microsoft.com/office/officeart/2008/layout/LinedList"/>
    <dgm:cxn modelId="{F443E5CF-CEE8-A249-899B-FCE6562CB731}" type="presParOf" srcId="{DF976840-A2BF-924F-A16E-26A52C8D21ED}" destId="{432417E0-DC1E-D94A-9241-3508F3F14D86}" srcOrd="0" destOrd="0" presId="urn:microsoft.com/office/officeart/2008/layout/LinedList"/>
    <dgm:cxn modelId="{57C70B7D-E34F-944D-9E3A-9C32744FB1B8}" type="presParOf" srcId="{DF976840-A2BF-924F-A16E-26A52C8D21ED}" destId="{465BA7F9-E313-DF4C-87E2-D33E00E05CEE}" srcOrd="1" destOrd="0" presId="urn:microsoft.com/office/officeart/2008/layout/LinedList"/>
    <dgm:cxn modelId="{763475BE-8C87-0741-982E-45424BF00DAF}" type="presParOf" srcId="{040C6162-58E7-714D-89FE-09B8F58093A0}" destId="{5C9185CB-D4E4-584D-8103-BF6ADB5F9DBD}" srcOrd="2" destOrd="0" presId="urn:microsoft.com/office/officeart/2008/layout/LinedList"/>
    <dgm:cxn modelId="{D3859B5C-5DE6-5D4B-93EC-C574CD7E0BB6}" type="presParOf" srcId="{040C6162-58E7-714D-89FE-09B8F58093A0}" destId="{3478B118-E6A4-6C43-8D3F-C37BFB658876}" srcOrd="3" destOrd="0" presId="urn:microsoft.com/office/officeart/2008/layout/LinedList"/>
    <dgm:cxn modelId="{7A5DCDFB-0D11-FD47-BC18-0E7C461CACA3}" type="presParOf" srcId="{3478B118-E6A4-6C43-8D3F-C37BFB658876}" destId="{6C61D329-0DA8-A44A-AEE2-9188C79C69C7}" srcOrd="0" destOrd="0" presId="urn:microsoft.com/office/officeart/2008/layout/LinedList"/>
    <dgm:cxn modelId="{7DFD35AF-E651-8648-89C9-6C956F4053D7}" type="presParOf" srcId="{3478B118-E6A4-6C43-8D3F-C37BFB658876}" destId="{3563C8E3-BC1C-1146-8C2A-EAF069F43867}" srcOrd="1" destOrd="0" presId="urn:microsoft.com/office/officeart/2008/layout/LinedList"/>
    <dgm:cxn modelId="{D40977D8-3B86-8146-8A7E-DB4985BD4EAB}" type="presParOf" srcId="{040C6162-58E7-714D-89FE-09B8F58093A0}" destId="{C56E0FDA-5311-2049-BB58-270A088FDD14}" srcOrd="4" destOrd="0" presId="urn:microsoft.com/office/officeart/2008/layout/LinedList"/>
    <dgm:cxn modelId="{AE74175A-40BB-5D4A-B65D-DA28BBF42E66}" type="presParOf" srcId="{040C6162-58E7-714D-89FE-09B8F58093A0}" destId="{ACF2EF74-BC44-704E-B3D2-ECDBAF682A0B}" srcOrd="5" destOrd="0" presId="urn:microsoft.com/office/officeart/2008/layout/LinedList"/>
    <dgm:cxn modelId="{3BCB933E-4440-914D-8247-B0E2F81FB374}" type="presParOf" srcId="{ACF2EF74-BC44-704E-B3D2-ECDBAF682A0B}" destId="{49FA3C7B-ADB3-C04B-A043-CCF459C1AC33}" srcOrd="0" destOrd="0" presId="urn:microsoft.com/office/officeart/2008/layout/LinedList"/>
    <dgm:cxn modelId="{04D49A25-6478-4548-BD6D-B7A96083E53C}" type="presParOf" srcId="{ACF2EF74-BC44-704E-B3D2-ECDBAF682A0B}" destId="{871662FB-B379-FE44-A1EF-A4326BEC74F7}" srcOrd="1" destOrd="0" presId="urn:microsoft.com/office/officeart/2008/layout/LinedList"/>
    <dgm:cxn modelId="{BF5C43A7-74FF-5F4E-960B-AD723F0D4D6C}" type="presParOf" srcId="{040C6162-58E7-714D-89FE-09B8F58093A0}" destId="{CBD1400C-A64D-814B-9A5F-2EE9933C160F}" srcOrd="6" destOrd="0" presId="urn:microsoft.com/office/officeart/2008/layout/LinedList"/>
    <dgm:cxn modelId="{46498BAD-2A96-5342-AC9F-A7AF37E58999}" type="presParOf" srcId="{040C6162-58E7-714D-89FE-09B8F58093A0}" destId="{ABD84BC7-8B79-AA47-9D7D-E6B9B0258D55}" srcOrd="7" destOrd="0" presId="urn:microsoft.com/office/officeart/2008/layout/LinedList"/>
    <dgm:cxn modelId="{99171F28-8AB2-8149-9F51-D10920D103BF}" type="presParOf" srcId="{ABD84BC7-8B79-AA47-9D7D-E6B9B0258D55}" destId="{10644019-0DBF-D848-B1A1-431A28CC56D4}" srcOrd="0" destOrd="0" presId="urn:microsoft.com/office/officeart/2008/layout/LinedList"/>
    <dgm:cxn modelId="{632A5254-6D86-EE42-9DA0-96A9890BDA0A}" type="presParOf" srcId="{ABD84BC7-8B79-AA47-9D7D-E6B9B0258D55}" destId="{1CB90876-A278-824F-ABE7-A39FB76EDFDE}" srcOrd="1" destOrd="0" presId="urn:microsoft.com/office/officeart/2008/layout/LinedList"/>
    <dgm:cxn modelId="{1280AA41-69B3-204D-B607-0C798C27854A}" type="presParOf" srcId="{040C6162-58E7-714D-89FE-09B8F58093A0}" destId="{EB7315BF-4859-0F48-BFC4-496C7DFC0AB4}" srcOrd="8" destOrd="0" presId="urn:microsoft.com/office/officeart/2008/layout/LinedList"/>
    <dgm:cxn modelId="{DB3A22FF-B9EB-9648-A4EB-41E9A40D30FD}" type="presParOf" srcId="{040C6162-58E7-714D-89FE-09B8F58093A0}" destId="{E1E7AF2F-8667-B147-8E64-EE75F3AAA033}" srcOrd="9" destOrd="0" presId="urn:microsoft.com/office/officeart/2008/layout/LinedList"/>
    <dgm:cxn modelId="{1735B97D-D2BE-444E-AFBD-CB4418C8B31E}" type="presParOf" srcId="{E1E7AF2F-8667-B147-8E64-EE75F3AAA033}" destId="{4AF281F6-A7EB-1E41-BFA5-8F593645411E}" srcOrd="0" destOrd="0" presId="urn:microsoft.com/office/officeart/2008/layout/LinedList"/>
    <dgm:cxn modelId="{17C2C9F1-9DDA-3541-9516-044D8129CE64}" type="presParOf" srcId="{E1E7AF2F-8667-B147-8E64-EE75F3AAA033}" destId="{B5E9B422-2AD6-9748-9604-2143DA7E3A06}" srcOrd="1" destOrd="0" presId="urn:microsoft.com/office/officeart/2008/layout/LinedList"/>
    <dgm:cxn modelId="{30569A89-E72A-D04E-909A-C4C175B5F9AA}" type="presParOf" srcId="{040C6162-58E7-714D-89FE-09B8F58093A0}" destId="{A8D6A59E-2A80-C847-A515-DE23ED444985}" srcOrd="10" destOrd="0" presId="urn:microsoft.com/office/officeart/2008/layout/LinedList"/>
    <dgm:cxn modelId="{DCF610E5-A2AE-CC43-8BB4-69756B984F7A}" type="presParOf" srcId="{040C6162-58E7-714D-89FE-09B8F58093A0}" destId="{7035F1AC-93C8-E649-B68F-2B8642C75032}" srcOrd="11" destOrd="0" presId="urn:microsoft.com/office/officeart/2008/layout/LinedList"/>
    <dgm:cxn modelId="{63D95A0D-B5C9-734F-922B-2189A3D00C4B}" type="presParOf" srcId="{7035F1AC-93C8-E649-B68F-2B8642C75032}" destId="{49FC1C0C-2624-5B41-AF76-88D4442A713D}" srcOrd="0" destOrd="0" presId="urn:microsoft.com/office/officeart/2008/layout/LinedList"/>
    <dgm:cxn modelId="{C4DF39FE-98EA-7F41-9923-22BFE174AA5E}" type="presParOf" srcId="{7035F1AC-93C8-E649-B68F-2B8642C75032}" destId="{0FEEBCB1-E38B-CF46-A91B-6F4AA7D81C30}" srcOrd="1" destOrd="0" presId="urn:microsoft.com/office/officeart/2008/layout/LinedList"/>
    <dgm:cxn modelId="{614D1EB6-A3B6-AF4F-B797-44986845F533}" type="presParOf" srcId="{040C6162-58E7-714D-89FE-09B8F58093A0}" destId="{D3E02165-3823-1247-8D8E-2715D52FB574}" srcOrd="12" destOrd="0" presId="urn:microsoft.com/office/officeart/2008/layout/LinedList"/>
    <dgm:cxn modelId="{34F3C716-33A0-0D43-9CE0-FA4FEA18D556}" type="presParOf" srcId="{040C6162-58E7-714D-89FE-09B8F58093A0}" destId="{4201A2F2-2E1C-8C43-9D88-E7EA0507C95F}" srcOrd="13" destOrd="0" presId="urn:microsoft.com/office/officeart/2008/layout/LinedList"/>
    <dgm:cxn modelId="{B599B1EA-2AB7-454C-819F-6A7403B01534}" type="presParOf" srcId="{4201A2F2-2E1C-8C43-9D88-E7EA0507C95F}" destId="{76601C9A-E6D2-B04F-BCAB-8064EFEF6E7A}" srcOrd="0" destOrd="0" presId="urn:microsoft.com/office/officeart/2008/layout/LinedList"/>
    <dgm:cxn modelId="{18074AE9-2387-1B4B-BBB4-8C51A1A72DBF}" type="presParOf" srcId="{4201A2F2-2E1C-8C43-9D88-E7EA0507C95F}" destId="{C1ECB7CD-6016-1D4B-B20B-237BE5268A4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BE0FEA-9A38-2E4D-B8AD-2DD478EB3C84}">
      <dsp:nvSpPr>
        <dsp:cNvPr id="0" name=""/>
        <dsp:cNvSpPr/>
      </dsp:nvSpPr>
      <dsp:spPr>
        <a:xfrm>
          <a:off x="0" y="621"/>
          <a:ext cx="7728267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2417E0-DC1E-D94A-9241-3508F3F14D86}">
      <dsp:nvSpPr>
        <dsp:cNvPr id="0" name=""/>
        <dsp:cNvSpPr/>
      </dsp:nvSpPr>
      <dsp:spPr>
        <a:xfrm>
          <a:off x="0" y="621"/>
          <a:ext cx="7728267" cy="726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2400" b="1" kern="1200" dirty="0">
              <a:solidFill>
                <a:schemeClr val="accent1"/>
              </a:solidFill>
              <a:cs typeface="Arial" pitchFamily="34" charset="0"/>
            </a:rPr>
            <a:t>01 - </a:t>
          </a:r>
          <a:r>
            <a:rPr lang="en-US" sz="2400" kern="1200" dirty="0">
              <a:latin typeface="Arial" panose="020B0604020202020204" pitchFamily="34" charset="0"/>
              <a:cs typeface="Arial" panose="020B0604020202020204" pitchFamily="34" charset="0"/>
            </a:rPr>
            <a:t>Database Security</a:t>
          </a:r>
        </a:p>
      </dsp:txBody>
      <dsp:txXfrm>
        <a:off x="0" y="621"/>
        <a:ext cx="7728267" cy="726583"/>
      </dsp:txXfrm>
    </dsp:sp>
    <dsp:sp modelId="{5C9185CB-D4E4-584D-8103-BF6ADB5F9DBD}">
      <dsp:nvSpPr>
        <dsp:cNvPr id="0" name=""/>
        <dsp:cNvSpPr/>
      </dsp:nvSpPr>
      <dsp:spPr>
        <a:xfrm>
          <a:off x="0" y="727204"/>
          <a:ext cx="7728267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61D329-0DA8-A44A-AEE2-9188C79C69C7}">
      <dsp:nvSpPr>
        <dsp:cNvPr id="0" name=""/>
        <dsp:cNvSpPr/>
      </dsp:nvSpPr>
      <dsp:spPr>
        <a:xfrm>
          <a:off x="0" y="727080"/>
          <a:ext cx="7728267" cy="726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SzPts val="2000"/>
            <a:buFont typeface="Arial"/>
            <a:buNone/>
          </a:pPr>
          <a:r>
            <a:rPr lang="en-GB" sz="2400" kern="1200" dirty="0">
              <a:solidFill>
                <a:schemeClr val="accent4"/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02 - </a:t>
          </a:r>
          <a:r>
            <a:rPr lang="en-GB" sz="2400" kern="1200" dirty="0">
              <a:solidFill>
                <a:srgbClr val="5C5C5C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Authentication</a:t>
          </a:r>
          <a:endParaRPr lang="en-US" sz="2400" kern="1200" dirty="0">
            <a:solidFill>
              <a:srgbClr val="5C5C5C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DIN Condensed Bold"/>
            <a:cs typeface="Arial" panose="020B0604020202020204" pitchFamily="34" charset="0"/>
          </a:endParaRPr>
        </a:p>
      </dsp:txBody>
      <dsp:txXfrm>
        <a:off x="0" y="727080"/>
        <a:ext cx="7728267" cy="726583"/>
      </dsp:txXfrm>
    </dsp:sp>
    <dsp:sp modelId="{C56E0FDA-5311-2049-BB58-270A088FDD14}">
      <dsp:nvSpPr>
        <dsp:cNvPr id="0" name=""/>
        <dsp:cNvSpPr/>
      </dsp:nvSpPr>
      <dsp:spPr>
        <a:xfrm>
          <a:off x="0" y="1453787"/>
          <a:ext cx="7728267" cy="0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FA3C7B-ADB3-C04B-A043-CCF459C1AC33}">
      <dsp:nvSpPr>
        <dsp:cNvPr id="0" name=""/>
        <dsp:cNvSpPr/>
      </dsp:nvSpPr>
      <dsp:spPr>
        <a:xfrm>
          <a:off x="0" y="1453787"/>
          <a:ext cx="7728267" cy="726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accent3"/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03 - </a:t>
          </a:r>
          <a:r>
            <a:rPr lang="en-GB" sz="2400" kern="1200" dirty="0">
              <a:solidFill>
                <a:srgbClr val="5C5C5C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Authorization</a:t>
          </a:r>
        </a:p>
      </dsp:txBody>
      <dsp:txXfrm>
        <a:off x="0" y="1453787"/>
        <a:ext cx="7728267" cy="726583"/>
      </dsp:txXfrm>
    </dsp:sp>
    <dsp:sp modelId="{CBD1400C-A64D-814B-9A5F-2EE9933C160F}">
      <dsp:nvSpPr>
        <dsp:cNvPr id="0" name=""/>
        <dsp:cNvSpPr/>
      </dsp:nvSpPr>
      <dsp:spPr>
        <a:xfrm>
          <a:off x="0" y="2180370"/>
          <a:ext cx="7728267" cy="0"/>
        </a:xfrm>
        <a:prstGeom prst="lin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644019-0DBF-D848-B1A1-431A28CC56D4}">
      <dsp:nvSpPr>
        <dsp:cNvPr id="0" name=""/>
        <dsp:cNvSpPr/>
      </dsp:nvSpPr>
      <dsp:spPr>
        <a:xfrm>
          <a:off x="0" y="2180370"/>
          <a:ext cx="7728267" cy="726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SzPts val="2000"/>
            <a:buFont typeface="Arial"/>
            <a:buNone/>
          </a:pPr>
          <a:r>
            <a:rPr lang="en-GB" sz="2400" kern="1200" dirty="0">
              <a:solidFill>
                <a:schemeClr val="accent4"/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04 - </a:t>
          </a:r>
          <a:r>
            <a:rPr lang="en-GB" sz="2400" kern="1200" dirty="0">
              <a:solidFill>
                <a:srgbClr val="5C5C5C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Accounting </a:t>
          </a:r>
        </a:p>
      </dsp:txBody>
      <dsp:txXfrm>
        <a:off x="0" y="2180370"/>
        <a:ext cx="7728267" cy="726583"/>
      </dsp:txXfrm>
    </dsp:sp>
    <dsp:sp modelId="{EB7315BF-4859-0F48-BFC4-496C7DFC0AB4}">
      <dsp:nvSpPr>
        <dsp:cNvPr id="0" name=""/>
        <dsp:cNvSpPr/>
      </dsp:nvSpPr>
      <dsp:spPr>
        <a:xfrm>
          <a:off x="0" y="2906953"/>
          <a:ext cx="7728267" cy="0"/>
        </a:xfrm>
        <a:prstGeom prst="lin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F281F6-A7EB-1E41-BFA5-8F593645411E}">
      <dsp:nvSpPr>
        <dsp:cNvPr id="0" name=""/>
        <dsp:cNvSpPr/>
      </dsp:nvSpPr>
      <dsp:spPr>
        <a:xfrm>
          <a:off x="0" y="2906953"/>
          <a:ext cx="7728267" cy="726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accent5">
                  <a:lumMod val="40000"/>
                  <a:lumOff val="60000"/>
                </a:scheme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05 - </a:t>
          </a:r>
          <a:r>
            <a:rPr lang="en-GB" sz="2400" kern="1200" dirty="0">
              <a:solidFill>
                <a:srgbClr val="5C5C5C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DIN Condensed Bold"/>
              <a:cs typeface="Arial" panose="020B0604020202020204" pitchFamily="34" charset="0"/>
            </a:rPr>
            <a:t>Encryption</a:t>
          </a:r>
          <a:endParaRPr lang="en-US" sz="2400" kern="1200" dirty="0">
            <a:solidFill>
              <a:srgbClr val="5C5C5C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DIN Condensed Bold"/>
            <a:cs typeface="Arial" panose="020B0604020202020204" pitchFamily="34" charset="0"/>
          </a:endParaRPr>
        </a:p>
      </dsp:txBody>
      <dsp:txXfrm>
        <a:off x="0" y="2906953"/>
        <a:ext cx="7728267" cy="726583"/>
      </dsp:txXfrm>
    </dsp:sp>
    <dsp:sp modelId="{A8D6A59E-2A80-C847-A515-DE23ED444985}">
      <dsp:nvSpPr>
        <dsp:cNvPr id="0" name=""/>
        <dsp:cNvSpPr/>
      </dsp:nvSpPr>
      <dsp:spPr>
        <a:xfrm>
          <a:off x="0" y="3633536"/>
          <a:ext cx="7728267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FC1C0C-2624-5B41-AF76-88D4442A713D}">
      <dsp:nvSpPr>
        <dsp:cNvPr id="0" name=""/>
        <dsp:cNvSpPr/>
      </dsp:nvSpPr>
      <dsp:spPr>
        <a:xfrm>
          <a:off x="0" y="3633536"/>
          <a:ext cx="7728267" cy="726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rgbClr val="00B0F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06 - </a:t>
          </a:r>
          <a:r>
            <a:rPr lang="en-US" sz="2400" b="0" kern="120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Security Best Practices</a:t>
          </a:r>
          <a:endParaRPr lang="en-US" sz="24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3633536"/>
        <a:ext cx="7728267" cy="726583"/>
      </dsp:txXfrm>
    </dsp:sp>
    <dsp:sp modelId="{D3E02165-3823-1247-8D8E-2715D52FB574}">
      <dsp:nvSpPr>
        <dsp:cNvPr id="0" name=""/>
        <dsp:cNvSpPr/>
      </dsp:nvSpPr>
      <dsp:spPr>
        <a:xfrm>
          <a:off x="0" y="4360119"/>
          <a:ext cx="7728267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601C9A-E6D2-B04F-BCAB-8064EFEF6E7A}">
      <dsp:nvSpPr>
        <dsp:cNvPr id="0" name=""/>
        <dsp:cNvSpPr/>
      </dsp:nvSpPr>
      <dsp:spPr>
        <a:xfrm>
          <a:off x="0" y="4360119"/>
          <a:ext cx="7728267" cy="7265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rgbClr val="0070C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07 - </a:t>
          </a:r>
          <a:r>
            <a:rPr lang="en-US" sz="2400" b="0" kern="120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Question / Answers</a:t>
          </a:r>
        </a:p>
      </dsp:txBody>
      <dsp:txXfrm>
        <a:off x="0" y="4360119"/>
        <a:ext cx="7728267" cy="7265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3FF53A-6945-F44A-9D76-3D92A21463B0}" type="datetimeFigureOut">
              <a:rPr lang="en-US" smtClean="0">
                <a:latin typeface="Arial" panose="020B0604020202020204" pitchFamily="34" charset="0"/>
              </a:rPr>
              <a:t>11/19/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D6841D-2925-834F-996E-842B5750C604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993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1822B833-E4F6-F242-BAA0-F5BE939A588D}" type="datetimeFigureOut">
              <a:rPr lang="en-US" smtClean="0"/>
              <a:pPr/>
              <a:t>11/19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9BF575B9-DC01-304A-9418-33C84E8F46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435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40116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796592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4" name="Google Shape;25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062444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032082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762739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4" name="Google Shape;25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883093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118489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968164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869365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37881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10429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37395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412801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004232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687881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382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408901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49317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in front of a crowd&#10;&#10;Description automatically generated">
            <a:extLst>
              <a:ext uri="{FF2B5EF4-FFF2-40B4-BE49-F238E27FC236}">
                <a16:creationId xmlns:a16="http://schemas.microsoft.com/office/drawing/2014/main" id="{1A907117-C4C1-7A4F-AE5D-D63EEBB69B84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6512" cy="54227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0F851C2-50EE-6D4A-A6EB-BDA69BC741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42605" y="3945476"/>
            <a:ext cx="4163866" cy="655824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FD6EC4-3401-BF4F-A799-AEAFDDF97B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42605" y="5588887"/>
            <a:ext cx="4163866" cy="675775"/>
          </a:xfrm>
        </p:spPr>
        <p:txBody>
          <a:bodyPr>
            <a:normAutofit/>
          </a:bodyPr>
          <a:lstStyle>
            <a:lvl1pPr marL="0" indent="0" algn="r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37A5AE6-3632-C148-9834-259D8BB02DF4}"/>
              </a:ext>
            </a:extLst>
          </p:cNvPr>
          <p:cNvSpPr txBox="1">
            <a:spLocks/>
          </p:cNvSpPr>
          <p:nvPr userDrawn="1"/>
        </p:nvSpPr>
        <p:spPr>
          <a:xfrm>
            <a:off x="7842605" y="4684133"/>
            <a:ext cx="4163866" cy="65582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>
              <a:buClrTx/>
              <a:buFontTx/>
            </a:pPr>
            <a:r>
              <a:rPr lang="en-US" b="0" dirty="0">
                <a:solidFill>
                  <a:schemeClr val="bg1"/>
                </a:solidFill>
                <a:latin typeface="+mj-lt"/>
              </a:rPr>
              <a:t>Ibrar Ahmed</a:t>
            </a:r>
          </a:p>
          <a:p>
            <a:pPr>
              <a:buClrTx/>
              <a:buFontTx/>
            </a:pPr>
            <a:r>
              <a:rPr lang="en-US" b="0" dirty="0">
                <a:solidFill>
                  <a:schemeClr val="bg1"/>
                </a:solidFill>
                <a:latin typeface="+mj-lt"/>
              </a:rPr>
              <a:t>Senior Database Architect</a:t>
            </a:r>
          </a:p>
          <a:p>
            <a:pPr>
              <a:buClrTx/>
              <a:buFontTx/>
            </a:pPr>
            <a:r>
              <a:rPr lang="en-US" b="0" dirty="0" err="1">
                <a:solidFill>
                  <a:schemeClr val="bg1"/>
                </a:solidFill>
                <a:latin typeface="+mj-lt"/>
              </a:rPr>
              <a:t>Percona</a:t>
            </a:r>
            <a:r>
              <a:rPr lang="en-US" b="0" dirty="0">
                <a:solidFill>
                  <a:schemeClr val="bg1"/>
                </a:solidFill>
                <a:latin typeface="+mj-lt"/>
              </a:rPr>
              <a:t> LLC</a:t>
            </a:r>
          </a:p>
        </p:txBody>
      </p:sp>
    </p:spTree>
    <p:extLst>
      <p:ext uri="{BB962C8B-B14F-4D97-AF65-F5344CB8AC3E}">
        <p14:creationId xmlns:p14="http://schemas.microsoft.com/office/powerpoint/2010/main" val="1905367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seño personalizado 4">
  <p:cSld name="Diseño personalizado 4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9"/>
          <p:cNvSpPr txBox="1">
            <a:spLocks noGrp="1"/>
          </p:cNvSpPr>
          <p:nvPr>
            <p:ph type="title"/>
          </p:nvPr>
        </p:nvSpPr>
        <p:spPr>
          <a:xfrm>
            <a:off x="609600" y="365765"/>
            <a:ext cx="10972800" cy="726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26" name="Picture 2" descr="Pgwrld color 2x">
            <a:extLst>
              <a:ext uri="{FF2B5EF4-FFF2-40B4-BE49-F238E27FC236}">
                <a16:creationId xmlns:a16="http://schemas.microsoft.com/office/drawing/2014/main" id="{5F78BDFE-D65A-D047-995F-53BB4DBBDF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19" y="261595"/>
            <a:ext cx="9800281" cy="6177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3894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ingle Colum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42913" y="1719263"/>
            <a:ext cx="11344275" cy="4425950"/>
          </a:xfrm>
        </p:spPr>
        <p:txBody>
          <a:bodyPr/>
          <a:lstStyle/>
          <a:p>
            <a:pPr lvl="0"/>
            <a:r>
              <a:rPr lang="en-US" dirty="0"/>
              <a:t>Paragraph text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9211220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ngle Column Wide">
  <p:cSld name="2_Single Column Wide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3"/>
          <p:cNvSpPr txBox="1">
            <a:spLocks noGrp="1"/>
          </p:cNvSpPr>
          <p:nvPr>
            <p:ph type="title"/>
          </p:nvPr>
        </p:nvSpPr>
        <p:spPr>
          <a:xfrm>
            <a:off x="144000" y="52466"/>
            <a:ext cx="118800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1800"/>
              <a:buNone/>
              <a:defRPr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18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18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18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18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18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18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18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1800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3"/>
          <p:cNvSpPr txBox="1">
            <a:spLocks noGrp="1"/>
          </p:cNvSpPr>
          <p:nvPr>
            <p:ph type="body" idx="1"/>
          </p:nvPr>
        </p:nvSpPr>
        <p:spPr>
          <a:xfrm>
            <a:off x="144000" y="963827"/>
            <a:ext cx="11879999" cy="5181386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Char char="-"/>
              <a:defRPr/>
            </a:lvl3pPr>
            <a:lvl4pPr marL="1828800" lvl="3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3318F68-96C0-8C49-A4B2-9D3E09079BEA}"/>
              </a:ext>
            </a:extLst>
          </p:cNvPr>
          <p:cNvCxnSpPr>
            <a:cxnSpLocks/>
          </p:cNvCxnSpPr>
          <p:nvPr userDrawn="1"/>
        </p:nvCxnSpPr>
        <p:spPr>
          <a:xfrm>
            <a:off x="144000" y="863125"/>
            <a:ext cx="11879999" cy="0"/>
          </a:xfrm>
          <a:prstGeom prst="line">
            <a:avLst/>
          </a:prstGeom>
          <a:noFill/>
          <a:ln w="38100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9231837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9513088" cy="558799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9513088" cy="77912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4066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42597" y="2636520"/>
            <a:ext cx="5461601" cy="822960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THANKS</a:t>
            </a:r>
            <a:endParaRPr lang="zh-CN" altLang="en-US" dirty="0"/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596" y="3472928"/>
            <a:ext cx="5461601" cy="52838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8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1567393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28942E-5AD1-B442-B2CA-458D39F00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9979F3-24C6-1846-AE61-50623EAB4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Rectángulo 8">
            <a:extLst>
              <a:ext uri="{FF2B5EF4-FFF2-40B4-BE49-F238E27FC236}">
                <a16:creationId xmlns:a16="http://schemas.microsoft.com/office/drawing/2014/main" id="{AF4ADD92-C861-2146-BAEB-379963847377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809942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B895CE8-7C11-F74B-A5B9-8111C0750888}"/>
              </a:ext>
            </a:extLst>
          </p:cNvPr>
          <p:cNvSpPr/>
          <p:nvPr userDrawn="1"/>
        </p:nvSpPr>
        <p:spPr>
          <a:xfrm>
            <a:off x="0" y="762000"/>
            <a:ext cx="12192000" cy="533400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latin typeface="+mj-lt"/>
            </a:endParaRPr>
          </a:p>
        </p:txBody>
      </p:sp>
      <p:sp>
        <p:nvSpPr>
          <p:cNvPr id="10" name="Rectángulo 22">
            <a:extLst>
              <a:ext uri="{FF2B5EF4-FFF2-40B4-BE49-F238E27FC236}">
                <a16:creationId xmlns:a16="http://schemas.microsoft.com/office/drawing/2014/main" id="{3F423F5A-58F9-9C45-9E09-ECC16D04C372}"/>
              </a:ext>
            </a:extLst>
          </p:cNvPr>
          <p:cNvSpPr/>
          <p:nvPr userDrawn="1"/>
        </p:nvSpPr>
        <p:spPr>
          <a:xfrm>
            <a:off x="-3719" y="1857803"/>
            <a:ext cx="12199438" cy="31423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tIns="45719" rIns="45719" bIns="45719" anchor="ctr"/>
          <a:lstStyle/>
          <a:p>
            <a:pPr algn="ctr">
              <a:defRPr>
                <a:solidFill>
                  <a:srgbClr val="F5F3E7"/>
                </a:solidFill>
                <a:latin typeface="Exo 2"/>
                <a:ea typeface="Exo 2"/>
                <a:cs typeface="Exo 2"/>
                <a:sym typeface="Exo 2"/>
              </a:defRPr>
            </a:pPr>
            <a:endParaRPr sz="700" b="0" i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Straight Connector 12">
            <a:extLst>
              <a:ext uri="{FF2B5EF4-FFF2-40B4-BE49-F238E27FC236}">
                <a16:creationId xmlns:a16="http://schemas.microsoft.com/office/drawing/2014/main" id="{835FCBAC-323E-934F-AB3C-79FC1D7CFB29}"/>
              </a:ext>
            </a:extLst>
          </p:cNvPr>
          <p:cNvSpPr/>
          <p:nvPr userDrawn="1"/>
        </p:nvSpPr>
        <p:spPr>
          <a:xfrm flipH="1" flipV="1">
            <a:off x="934720" y="3811786"/>
            <a:ext cx="10342883" cy="1"/>
          </a:xfrm>
          <a:prstGeom prst="line">
            <a:avLst/>
          </a:prstGeom>
          <a:ln w="25400">
            <a:solidFill>
              <a:srgbClr val="262F63"/>
            </a:solidFill>
            <a:prstDash val="dash"/>
            <a:miter/>
          </a:ln>
        </p:spPr>
        <p:txBody>
          <a:bodyPr lIns="22859" tIns="22859" rIns="22859" bIns="22859"/>
          <a:lstStyle/>
          <a:p>
            <a:endParaRPr sz="7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ABD37-19BD-3244-B7C3-23D2A8C40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7088" y="2512611"/>
            <a:ext cx="5320361" cy="1311943"/>
          </a:xfrm>
          <a:prstGeom prst="rect">
            <a:avLst/>
          </a:prstGeom>
        </p:spPr>
        <p:txBody>
          <a:bodyPr anchor="b"/>
          <a:lstStyle>
            <a:lvl1pPr algn="r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AC0BF-645B-5940-84E8-608A635F1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8104" y="3851542"/>
            <a:ext cx="6139346" cy="306990"/>
          </a:xfrm>
        </p:spPr>
        <p:txBody>
          <a:bodyPr>
            <a:normAutofit/>
          </a:bodyPr>
          <a:lstStyle>
            <a:lvl1pPr marL="0" indent="0" algn="r">
              <a:buNone/>
              <a:defRPr sz="1200" i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2573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8">
            <a:extLst>
              <a:ext uri="{FF2B5EF4-FFF2-40B4-BE49-F238E27FC236}">
                <a16:creationId xmlns:a16="http://schemas.microsoft.com/office/drawing/2014/main" id="{F02379CE-35F4-6D4A-8B9D-15209010778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79822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>
            <a:extLst>
              <a:ext uri="{FF2B5EF4-FFF2-40B4-BE49-F238E27FC236}">
                <a16:creationId xmlns:a16="http://schemas.microsoft.com/office/drawing/2014/main" id="{D6BA014A-F15A-8F4B-B787-0B258D463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8" name="Rectángulo 8">
            <a:extLst>
              <a:ext uri="{FF2B5EF4-FFF2-40B4-BE49-F238E27FC236}">
                <a16:creationId xmlns:a16="http://schemas.microsoft.com/office/drawing/2014/main" id="{8401E798-55F7-D044-9D42-3733FDFEF8C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3362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C6A91F8-0642-D54C-9F9B-3EA7757B9E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760B8327-9B07-7249-A981-8049A417E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0FB3EB4B-D458-094B-A0C4-5B55A16E716E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6532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965464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80495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2668DBF3-1CA2-0746-AC0A-63D11A59A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93DF938A-37E7-214B-A4E5-68E5DAE77F30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006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0853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4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image" Target="../media/image15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/pgaudit/pgaudit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2ndQuadrant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iki.postgresql.org/wiki/Transparent_Data_Encryption#TDE_in_other_systems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4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image" Target="../media/image11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11" Type="http://schemas.openxmlformats.org/officeDocument/2006/relationships/image" Target="../media/image14.svg"/><Relationship Id="rId5" Type="http://schemas.openxmlformats.org/officeDocument/2006/relationships/hyperlink" Target="https://ja.wikipedia.org/wiki/Linux" TargetMode="External"/><Relationship Id="rId10" Type="http://schemas.openxmlformats.org/officeDocument/2006/relationships/image" Target="../media/image13.png"/><Relationship Id="rId4" Type="http://schemas.openxmlformats.org/officeDocument/2006/relationships/image" Target="../media/image9.png"/><Relationship Id="rId9" Type="http://schemas.openxmlformats.org/officeDocument/2006/relationships/hyperlink" Target="https://pixabay.com/en/dialog-tip-advice-hint-speaking-148815/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image" Target="../media/image18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6.sv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he.wikipedia.org/wiki/MacOS" TargetMode="External"/><Relationship Id="rId13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12" Type="http://schemas.openxmlformats.org/officeDocument/2006/relationships/image" Target="../media/image27.png"/><Relationship Id="rId17" Type="http://schemas.openxmlformats.org/officeDocument/2006/relationships/image" Target="../media/image32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pngimg.com/download/27010" TargetMode="External"/><Relationship Id="rId11" Type="http://schemas.openxmlformats.org/officeDocument/2006/relationships/hyperlink" Target="https://creativecommons.org/licenses/by-sa/3.0/" TargetMode="External"/><Relationship Id="rId5" Type="http://schemas.openxmlformats.org/officeDocument/2006/relationships/image" Target="../media/image24.png"/><Relationship Id="rId15" Type="http://schemas.openxmlformats.org/officeDocument/2006/relationships/image" Target="../media/image30.svg"/><Relationship Id="rId10" Type="http://schemas.openxmlformats.org/officeDocument/2006/relationships/hyperlink" Target="https://simple.wikipedia.org/wiki/Windows_2000" TargetMode="External"/><Relationship Id="rId4" Type="http://schemas.openxmlformats.org/officeDocument/2006/relationships/hyperlink" Target="http://geoinnova.org/blog-territorio/postgre-sql-big-data/" TargetMode="External"/><Relationship Id="rId9" Type="http://schemas.openxmlformats.org/officeDocument/2006/relationships/image" Target="../media/image26.png"/><Relationship Id="rId1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473159" y="2743567"/>
            <a:ext cx="94794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dirty="0">
                <a:latin typeface="Arial" panose="020B0604020202020204" pitchFamily="34" charset="0"/>
                <a:cs typeface="Arial" panose="020B0604020202020204" pitchFamily="34" charset="0"/>
              </a:rPr>
              <a:t>All about PostgreSQL’s Security</a:t>
            </a:r>
            <a:endParaRPr lang="zh-CN" altLang="en-US" sz="4400" b="1" dirty="0"/>
          </a:p>
        </p:txBody>
      </p:sp>
      <p:sp>
        <p:nvSpPr>
          <p:cNvPr id="13" name="文本框 12"/>
          <p:cNvSpPr txBox="1"/>
          <p:nvPr/>
        </p:nvSpPr>
        <p:spPr>
          <a:xfrm>
            <a:off x="940219" y="4308509"/>
            <a:ext cx="94525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ercona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LLC</a:t>
            </a:r>
          </a:p>
        </p:txBody>
      </p:sp>
    </p:spTree>
    <p:extLst>
      <p:ext uri="{BB962C8B-B14F-4D97-AF65-F5344CB8AC3E}">
        <p14:creationId xmlns:p14="http://schemas.microsoft.com/office/powerpoint/2010/main" val="5389656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1078ED-999D-8E4F-AE4D-B74B709DEDEA}"/>
              </a:ext>
            </a:extLst>
          </p:cNvPr>
          <p:cNvSpPr>
            <a:spLocks noGrp="1"/>
          </p:cNvSpPr>
          <p:nvPr>
            <p:ph idx="1"/>
          </p:nvPr>
        </p:nvSpPr>
        <p:spPr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host        database  	      user  		address      	auth-method  		[auth-options]</a:t>
            </a: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------+-----------------+-----------------+----------------+-------------------------+--------------------</a:t>
            </a: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all 	       |	   all 			| 127.0.0.1/32    | 	trust</a:t>
            </a:r>
            <a:endParaRPr lang="en-PK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all 	       |	   all 			| 127.0.0.1/32    | 	md5</a:t>
            </a:r>
            <a:endParaRPr lang="en-PK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sz="3200" b="1" dirty="0">
                <a:solidFill>
                  <a:srgbClr val="0070C0"/>
                </a:solidFill>
              </a:rPr>
              <a:t>A</a:t>
            </a:r>
            <a:r>
              <a:rPr lang="en-GB" sz="3200" dirty="0"/>
              <a:t>uthentication – Configuration (Duplicate Entries)</a:t>
            </a:r>
            <a:endParaRPr lang="en-US" sz="3000" dirty="0"/>
          </a:p>
        </p:txBody>
      </p:sp>
      <p:pic>
        <p:nvPicPr>
          <p:cNvPr id="9" name="Graphic 8" descr="Arrow: Straight">
            <a:extLst>
              <a:ext uri="{FF2B5EF4-FFF2-40B4-BE49-F238E27FC236}">
                <a16:creationId xmlns:a16="http://schemas.microsoft.com/office/drawing/2014/main" id="{D6A36903-1D33-2A41-AF70-F028053F51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6728825" flipH="1">
            <a:off x="6816733" y="2870166"/>
            <a:ext cx="2018747" cy="5568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FD5C57C-0BAF-2A43-9904-020A52C160E4}"/>
              </a:ext>
            </a:extLst>
          </p:cNvPr>
          <p:cNvSpPr txBox="1"/>
          <p:nvPr/>
        </p:nvSpPr>
        <p:spPr>
          <a:xfrm>
            <a:off x="1157748" y="583298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PK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1181A2-D167-F44D-814E-1FA1134C80C9}"/>
              </a:ext>
            </a:extLst>
          </p:cNvPr>
          <p:cNvSpPr txBox="1"/>
          <p:nvPr/>
        </p:nvSpPr>
        <p:spPr>
          <a:xfrm>
            <a:off x="6236903" y="1138258"/>
            <a:ext cx="5345497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grant@vagrant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GB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ostgres -h 127.0.0.1 -U postgres</a:t>
            </a:r>
          </a:p>
          <a:p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12.4)</a:t>
            </a: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 "help" for help.</a:t>
            </a:r>
          </a:p>
          <a:p>
            <a:b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&gt; 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0F1EFC-8AF0-1D44-A569-7638F787A708}"/>
              </a:ext>
            </a:extLst>
          </p:cNvPr>
          <p:cNvSpPr txBox="1"/>
          <p:nvPr/>
        </p:nvSpPr>
        <p:spPr>
          <a:xfrm>
            <a:off x="247993" y="2727787"/>
            <a:ext cx="1157330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 err="1">
                <a:solidFill>
                  <a:schemeClr val="tx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g_hba.conf</a:t>
            </a:r>
            <a:endParaRPr lang="en-GB" sz="1200" b="1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220099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1078ED-999D-8E4F-AE4D-B74B709DED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host        database  	      user  		address      	auth-method  		[auth-options]</a:t>
            </a: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------+-----------------+-----------------+----------------+-------------------------+--------------------</a:t>
            </a: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all 	       |	   all 			| 127.0.0.1/32    | 	trust</a:t>
            </a:r>
            <a:endParaRPr lang="en-PK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all 	       |	   all 			| 10.0.2.15/32    | 	reject</a:t>
            </a:r>
            <a:endParaRPr lang="en-PK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sz="3200" b="1" dirty="0">
                <a:solidFill>
                  <a:srgbClr val="0070C0"/>
                </a:solidFill>
              </a:rPr>
              <a:t>A</a:t>
            </a:r>
            <a:r>
              <a:rPr lang="en-GB" sz="3200" dirty="0"/>
              <a:t>uthentication – Method (Reject / Missing)</a:t>
            </a:r>
            <a:endParaRPr lang="en-US" sz="3000" dirty="0"/>
          </a:p>
        </p:txBody>
      </p:sp>
      <p:pic>
        <p:nvPicPr>
          <p:cNvPr id="9" name="Graphic 8" descr="Arrow: Straight">
            <a:extLst>
              <a:ext uri="{FF2B5EF4-FFF2-40B4-BE49-F238E27FC236}">
                <a16:creationId xmlns:a16="http://schemas.microsoft.com/office/drawing/2014/main" id="{D6A36903-1D33-2A41-AF70-F028053F51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8118738" flipH="1">
            <a:off x="7125707" y="2596400"/>
            <a:ext cx="3462684" cy="5568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FD5C57C-0BAF-2A43-9904-020A52C160E4}"/>
              </a:ext>
            </a:extLst>
          </p:cNvPr>
          <p:cNvSpPr txBox="1"/>
          <p:nvPr/>
        </p:nvSpPr>
        <p:spPr>
          <a:xfrm>
            <a:off x="1157748" y="583298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PK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1181A2-D167-F44D-814E-1FA1134C80C9}"/>
              </a:ext>
            </a:extLst>
          </p:cNvPr>
          <p:cNvSpPr txBox="1"/>
          <p:nvPr/>
        </p:nvSpPr>
        <p:spPr>
          <a:xfrm>
            <a:off x="2825578" y="940316"/>
            <a:ext cx="9176093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grant@vagrant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GB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ostgres -h 10.0.2.1  -U postgres</a:t>
            </a:r>
          </a:p>
          <a:p>
            <a:endParaRPr lang="en-GB" sz="1200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error: could not connect to server: </a:t>
            </a: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TAL:  </a:t>
            </a:r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g_hba.conf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ejects connection for host "10.0.2.15", user "postgres", database "postgres"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0CF246-CD82-E04D-9581-BA4F9C4AAF07}"/>
              </a:ext>
            </a:extLst>
          </p:cNvPr>
          <p:cNvSpPr txBox="1"/>
          <p:nvPr/>
        </p:nvSpPr>
        <p:spPr>
          <a:xfrm>
            <a:off x="3558746" y="4567681"/>
            <a:ext cx="8442925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grant@vagrant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GB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ostgres -h 10.0.2.1   -U postgres</a:t>
            </a:r>
          </a:p>
          <a:p>
            <a:endParaRPr lang="en-GB" sz="1200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error: could not connect to server:</a:t>
            </a: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TAL:  no </a:t>
            </a:r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g_hba.conf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entry for host "172.31.0.1", user "postgres", database "postgres"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0D410C-BC2F-164B-A980-AA0D3AB48D9E}"/>
              </a:ext>
            </a:extLst>
          </p:cNvPr>
          <p:cNvSpPr txBox="1"/>
          <p:nvPr/>
        </p:nvSpPr>
        <p:spPr>
          <a:xfrm>
            <a:off x="190329" y="2297936"/>
            <a:ext cx="1133440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 err="1">
                <a:solidFill>
                  <a:schemeClr val="tx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g_hba.conf</a:t>
            </a:r>
            <a:endParaRPr lang="en-GB" sz="1200" b="1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0" name="Graphic 9" descr="Arrow: Straight">
            <a:extLst>
              <a:ext uri="{FF2B5EF4-FFF2-40B4-BE49-F238E27FC236}">
                <a16:creationId xmlns:a16="http://schemas.microsoft.com/office/drawing/2014/main" id="{AA63A9C9-A1A8-7243-AFB7-552D7D4A68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37241" y="833916"/>
            <a:ext cx="914400" cy="521898"/>
          </a:xfrm>
          <a:prstGeom prst="rect">
            <a:avLst/>
          </a:prstGeom>
        </p:spPr>
      </p:pic>
      <p:pic>
        <p:nvPicPr>
          <p:cNvPr id="11" name="Graphic 10" descr="Arrow: Straight">
            <a:extLst>
              <a:ext uri="{FF2B5EF4-FFF2-40B4-BE49-F238E27FC236}">
                <a16:creationId xmlns:a16="http://schemas.microsoft.com/office/drawing/2014/main" id="{85F34E8E-5042-CC4F-9785-7C06E0AAD1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60924">
            <a:off x="9147031" y="4453640"/>
            <a:ext cx="914400" cy="52189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ACB255D-92C7-EB48-92E3-8495D4801488}"/>
              </a:ext>
            </a:extLst>
          </p:cNvPr>
          <p:cNvSpPr txBox="1"/>
          <p:nvPr/>
        </p:nvSpPr>
        <p:spPr>
          <a:xfrm>
            <a:off x="9253057" y="963191"/>
            <a:ext cx="2684477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PK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mputer ip is “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.0.2.15”</a:t>
            </a:r>
            <a:endParaRPr lang="en-PK" sz="1200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3FD9E1-6C12-3145-A892-54C57F40D233}"/>
              </a:ext>
            </a:extLst>
          </p:cNvPr>
          <p:cNvSpPr txBox="1"/>
          <p:nvPr/>
        </p:nvSpPr>
        <p:spPr>
          <a:xfrm>
            <a:off x="9151641" y="4080540"/>
            <a:ext cx="2684477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PK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mputer ip is “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72.31.0.1”</a:t>
            </a:r>
            <a:endParaRPr lang="en-PK" sz="1200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821585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1078ED-999D-8E4F-AE4D-B74B709DED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host        database  	      user  		address      	auth-method  		[auth-options]</a:t>
            </a: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------+-----------------+-----------------+----------------+-------------------------+--------------------</a:t>
            </a: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all 	       |	   all 			| 127.0.0.1/32    | 	trust</a:t>
            </a:r>
            <a:endParaRPr lang="en-PK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all 	       |	   all 			| 10.0.2.15/32    | 	ident</a:t>
            </a:r>
            <a:endParaRPr lang="en-PK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sz="3200" b="1" dirty="0">
                <a:solidFill>
                  <a:srgbClr val="0070C0"/>
                </a:solidFill>
              </a:rPr>
              <a:t>A</a:t>
            </a:r>
            <a:r>
              <a:rPr lang="en-GB" sz="3200" dirty="0"/>
              <a:t>uthentication – Method (ident)</a:t>
            </a:r>
            <a:endParaRPr lang="en-US" sz="3000" dirty="0"/>
          </a:p>
        </p:txBody>
      </p:sp>
      <p:pic>
        <p:nvPicPr>
          <p:cNvPr id="9" name="Graphic 8" descr="Arrow: Straight">
            <a:extLst>
              <a:ext uri="{FF2B5EF4-FFF2-40B4-BE49-F238E27FC236}">
                <a16:creationId xmlns:a16="http://schemas.microsoft.com/office/drawing/2014/main" id="{D6A36903-1D33-2A41-AF70-F028053F51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8031121" flipH="1">
            <a:off x="6950528" y="3673711"/>
            <a:ext cx="2468890" cy="5568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FD5C57C-0BAF-2A43-9904-020A52C160E4}"/>
              </a:ext>
            </a:extLst>
          </p:cNvPr>
          <p:cNvSpPr txBox="1"/>
          <p:nvPr/>
        </p:nvSpPr>
        <p:spPr>
          <a:xfrm>
            <a:off x="1157748" y="583298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PK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1181A2-D167-F44D-814E-1FA1134C80C9}"/>
              </a:ext>
            </a:extLst>
          </p:cNvPr>
          <p:cNvSpPr txBox="1"/>
          <p:nvPr/>
        </p:nvSpPr>
        <p:spPr>
          <a:xfrm>
            <a:off x="1729946" y="775408"/>
            <a:ext cx="10202849" cy="21236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GB" sz="1200" b="1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</a:t>
            </a:r>
            <a:r>
              <a:rPr lang="en-GB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– vagrant</a:t>
            </a:r>
          </a:p>
          <a:p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ostgres -h 10.0.2.15  -U postgres </a:t>
            </a:r>
          </a:p>
          <a:p>
            <a:endParaRPr lang="en-GB" sz="1200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:  provided user name (postgres) and authenticated user name (vagrant) do not match</a:t>
            </a: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TAL:  Ident authentication failed for user "postgres"</a:t>
            </a: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TAIL:  Connection matched </a:t>
            </a:r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g_hba.conf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ine 90: </a:t>
            </a:r>
          </a:p>
          <a:p>
            <a:endParaRPr lang="en-GB" sz="1200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ost    all             postgres        10.0.2.15/32           ident"</a:t>
            </a:r>
          </a:p>
          <a:p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error: could not connect to server: FATAL:  Ident authentication failed for user "postgres"</a:t>
            </a:r>
          </a:p>
          <a:p>
            <a:endParaRPr lang="en-GB" sz="1200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0CF246-CD82-E04D-9581-BA4F9C4AAF07}"/>
              </a:ext>
            </a:extLst>
          </p:cNvPr>
          <p:cNvSpPr txBox="1"/>
          <p:nvPr/>
        </p:nvSpPr>
        <p:spPr>
          <a:xfrm>
            <a:off x="2896746" y="5052780"/>
            <a:ext cx="6894212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do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- postgres</a:t>
            </a:r>
          </a:p>
          <a:p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ostgres -h 10.0.2.15  -U postgres</a:t>
            </a:r>
          </a:p>
          <a:p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12.4)</a:t>
            </a: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 "help" for help.</a:t>
            </a:r>
          </a:p>
          <a:p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3F40C3-F03E-D343-A5FC-E9ED85961761}"/>
              </a:ext>
            </a:extLst>
          </p:cNvPr>
          <p:cNvSpPr txBox="1"/>
          <p:nvPr/>
        </p:nvSpPr>
        <p:spPr>
          <a:xfrm>
            <a:off x="190329" y="3120182"/>
            <a:ext cx="1174246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 err="1">
                <a:solidFill>
                  <a:schemeClr val="tx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g_hba.conf</a:t>
            </a:r>
            <a:endParaRPr lang="en-GB" sz="1200" b="1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568963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F98ED3-D270-7D4D-A97D-71FE492508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286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OLE, USER and GROUP </a:t>
            </a:r>
          </a:p>
          <a:p>
            <a:pPr marL="6286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ANT and REVOKE </a:t>
            </a:r>
          </a:p>
          <a:p>
            <a:pPr marL="6286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PK" dirty="0">
                <a:latin typeface="Arial" panose="020B0604020202020204" pitchFamily="34" charset="0"/>
                <a:cs typeface="Arial" panose="020B0604020202020204" pitchFamily="34" charset="0"/>
              </a:rPr>
              <a:t>Row Level Security</a:t>
            </a:r>
          </a:p>
          <a:p>
            <a:endParaRPr lang="en-PK" dirty="0"/>
          </a:p>
        </p:txBody>
      </p:sp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sz="3200" dirty="0">
                <a:latin typeface="Arial" panose="020B0604020202020204" pitchFamily="34" charset="0"/>
                <a:cs typeface="Arial" panose="020B0604020202020204" pitchFamily="34" charset="0"/>
              </a:rPr>
              <a:t>uthorization</a:t>
            </a:r>
            <a:endParaRPr lang="en-US" sz="3000" dirty="0"/>
          </a:p>
        </p:txBody>
      </p:sp>
    </p:spTree>
    <p:extLst>
      <p:ext uri="{BB962C8B-B14F-4D97-AF65-F5344CB8AC3E}">
        <p14:creationId xmlns:p14="http://schemas.microsoft.com/office/powerpoint/2010/main" val="18593316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sz="3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sz="3200" dirty="0">
                <a:latin typeface="Arial" panose="020B0604020202020204" pitchFamily="34" charset="0"/>
                <a:cs typeface="Arial" panose="020B0604020202020204" pitchFamily="34" charset="0"/>
              </a:rPr>
              <a:t>uthorization - GRANT / REVOKE</a:t>
            </a:r>
            <a:endParaRPr lang="en-US" sz="3000" dirty="0"/>
          </a:p>
        </p:txBody>
      </p:sp>
      <p:sp>
        <p:nvSpPr>
          <p:cNvPr id="9" name="Google Shape;152;p16">
            <a:extLst>
              <a:ext uri="{FF2B5EF4-FFF2-40B4-BE49-F238E27FC236}">
                <a16:creationId xmlns:a16="http://schemas.microsoft.com/office/drawing/2014/main" id="{C7FA701E-79F0-2040-B261-917E857D8DCF}"/>
              </a:ext>
            </a:extLst>
          </p:cNvPr>
          <p:cNvSpPr txBox="1"/>
          <p:nvPr/>
        </p:nvSpPr>
        <p:spPr>
          <a:xfrm>
            <a:off x="107999" y="971999"/>
            <a:ext cx="5642011" cy="5371135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GB" sz="1100" b="1" dirty="0"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</a:p>
          <a:p>
            <a:endParaRPr lang="en-GB" sz="1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100" b="1" dirty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postgres –U postgres</a:t>
            </a:r>
          </a:p>
          <a:p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CREATE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TABLE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 (manager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text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text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tact_email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text);</a:t>
            </a:r>
          </a:p>
          <a:p>
            <a:endParaRPr lang="en-GB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INSERT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INTO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VALUES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('</a:t>
            </a:r>
            <a:r>
              <a:rPr lang="en-GB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mt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', '</a:t>
            </a:r>
            <a:r>
              <a:rPr lang="en-GB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ercona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', '</a:t>
            </a:r>
            <a:r>
              <a:rPr lang="en-GB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o@example.com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’);</a:t>
            </a:r>
          </a:p>
          <a:p>
            <a:endParaRPr lang="en-GB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100" b="1" dirty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postgres -U managers</a:t>
            </a:r>
          </a:p>
          <a:p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&gt;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SELECT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FROM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;</a:t>
            </a:r>
          </a:p>
          <a:p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ERROR:  permission denied for table accounts</a:t>
            </a:r>
          </a:p>
          <a:p>
            <a:endParaRPr lang="en-GB" sz="1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100" b="1" dirty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postgres –U postgres</a:t>
            </a:r>
          </a:p>
          <a:p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GRANT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ALL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ON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to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managers;</a:t>
            </a:r>
          </a:p>
          <a:p>
            <a:endParaRPr lang="en-GB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grant@vagrant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GB" sz="1100" b="1" dirty="0"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postgres -U managers</a:t>
            </a:r>
          </a:p>
          <a:p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&gt; SELECT * FROM accounts;</a:t>
            </a:r>
          </a:p>
          <a:p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 manager | company |  </a:t>
            </a:r>
            <a:r>
              <a:rPr lang="en-GB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tact_email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 </a:t>
            </a:r>
          </a:p>
          <a:p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-+-----------------</a:t>
            </a:r>
          </a:p>
          <a:p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mt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    | </a:t>
            </a:r>
            <a:r>
              <a:rPr lang="en-GB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ercona</a:t>
            </a:r>
            <a:r>
              <a:rPr lang="en-GB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GB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o@example.com</a:t>
            </a:r>
            <a:endParaRPr lang="en-PK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Google Shape;152;p16">
            <a:extLst>
              <a:ext uri="{FF2B5EF4-FFF2-40B4-BE49-F238E27FC236}">
                <a16:creationId xmlns:a16="http://schemas.microsoft.com/office/drawing/2014/main" id="{B7E3DD8C-38C6-7F4D-852F-FE13A9A7B85B}"/>
              </a:ext>
            </a:extLst>
          </p:cNvPr>
          <p:cNvSpPr txBox="1"/>
          <p:nvPr/>
        </p:nvSpPr>
        <p:spPr>
          <a:xfrm>
            <a:off x="5865341" y="971999"/>
            <a:ext cx="6158659" cy="5371134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REVOKE</a:t>
            </a:r>
          </a:p>
          <a:p>
            <a:endParaRPr lang="en-GB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postgres –U postgres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REVOK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DELET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O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account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managers;</a:t>
            </a:r>
          </a:p>
          <a:p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postgres -U managers</a:t>
            </a:r>
            <a:b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&gt;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DELET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Iowan Old Style Roman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ERROR:  permission denied for table accounts</a:t>
            </a:r>
          </a:p>
        </p:txBody>
      </p:sp>
    </p:spTree>
    <p:extLst>
      <p:ext uri="{BB962C8B-B14F-4D97-AF65-F5344CB8AC3E}">
        <p14:creationId xmlns:p14="http://schemas.microsoft.com/office/powerpoint/2010/main" val="1091765868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28600"/>
            <a:r>
              <a:rPr lang="en-GB" dirty="0"/>
              <a:t>Row Level Security POLICI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2B3690-1B6C-1745-91B0-B67DA11CEF47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154910" y="838200"/>
            <a:ext cx="5743382" cy="5181600"/>
          </a:xfr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228600" indent="0">
              <a:buNone/>
            </a:pP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postgres -U postgres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TABL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 (user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							  company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							 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tact_email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TER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 ENABLE ROW LEVEL SECURITY; 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ICY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count_managers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				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 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				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user 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				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ING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(user =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urrent_user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AN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 to manager;</a:t>
            </a:r>
          </a:p>
          <a:p>
            <a:pPr marL="228600" indent="0">
              <a:buNone/>
            </a:pP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 </a:t>
            </a:r>
          </a:p>
          <a:p>
            <a:pPr marL="228600" indent="0">
              <a:buNone/>
            </a:pP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    VALUE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('manager’,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				  '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ercona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’, 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				  '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o@example.c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’);</a:t>
            </a:r>
          </a:p>
          <a:p>
            <a:pPr marL="228600" indent="0">
              <a:buNone/>
            </a:pP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 </a:t>
            </a:r>
          </a:p>
          <a:p>
            <a:pPr marL="228600" indent="0">
              <a:buNone/>
            </a:pP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    VALUE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('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m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’, 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				  ‘Google’,</a:t>
            </a:r>
          </a:p>
          <a:p>
            <a:pPr marL="22860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			       ‘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ar@example.c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’);</a:t>
            </a:r>
          </a:p>
          <a:p>
            <a:pPr marL="228600" indent="0">
              <a:buNone/>
            </a:pP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>
              <a:buNone/>
            </a:pPr>
            <a:endParaRPr lang="en-GB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>
              <a:buNone/>
            </a:pPr>
            <a:endParaRPr lang="en-PK" sz="1200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D331C8-62C7-C54E-AC04-00D216CE6E01}"/>
              </a:ext>
            </a:extLst>
          </p:cNvPr>
          <p:cNvSpPr txBox="1">
            <a:spLocks/>
          </p:cNvSpPr>
          <p:nvPr/>
        </p:nvSpPr>
        <p:spPr>
          <a:xfrm>
            <a:off x="5988908" y="838442"/>
            <a:ext cx="6012763" cy="51813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400000"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spcFirstLastPara="1" wrap="square" lIns="45700" tIns="45700" rIns="45700" bIns="45700" anchor="t" anchorCtr="0">
            <a:normAutofit fontScale="92500" lnSpcReduction="20000"/>
          </a:bodyPr>
          <a:lstStyle>
            <a:lvl1pPr marL="457200" marR="0" lvl="0" indent="-2286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None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1pPr>
            <a:lvl2pPr marL="914400" marR="0" lvl="1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2pPr>
            <a:lvl3pPr marL="1371600" marR="0" lvl="2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-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3pPr>
            <a:lvl4pPr marL="1828800" marR="0" lvl="3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4pPr>
            <a:lvl5pPr marL="2286000" marR="0" lvl="4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5pPr>
            <a:lvl6pPr marL="2743200" marR="0" lvl="5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defRPr>
            </a:lvl6pPr>
            <a:lvl7pPr marL="3200400" marR="0" lvl="6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defRPr>
            </a:lvl7pPr>
            <a:lvl8pPr marL="3657600" marR="0" lvl="7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defRPr>
            </a:lvl8pPr>
            <a:lvl9pPr marL="4114800" marR="0" lvl="8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defRPr>
            </a:lvl9pPr>
          </a:lstStyle>
          <a:p>
            <a:pPr marL="228600" indent="0"/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;</a:t>
            </a:r>
          </a:p>
          <a:p>
            <a:pPr marL="228600" indent="0"/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user     | company | 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tact_email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 </a:t>
            </a:r>
          </a:p>
          <a:p>
            <a:pPr marL="228600" indent="0"/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+---------+-----------------</a:t>
            </a:r>
          </a:p>
          <a:p>
            <a:pPr marL="228600" indent="0"/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manager  | </a:t>
            </a:r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ercona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o@example.com</a:t>
            </a:r>
            <a:endParaRPr lang="en-GB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/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mt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      | Google  | </a:t>
            </a:r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ar@example.com</a:t>
            </a:r>
            <a:endParaRPr lang="en-GB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/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2 rows)</a:t>
            </a:r>
          </a:p>
          <a:p>
            <a:pPr marL="228600" indent="0"/>
            <a:endParaRPr lang="en-GB" sz="1200" kern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kern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postgres -U manager</a:t>
            </a: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&gt;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;</a:t>
            </a: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 user.    | company |  </a:t>
            </a:r>
            <a:r>
              <a:rPr lang="en-GB" sz="1200" kern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tact_email</a:t>
            </a:r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 </a:t>
            </a: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+---------+-----------------</a:t>
            </a: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200" b="1" kern="0" dirty="0">
                <a:latin typeface="Courier New" panose="02070309020205020404" pitchFamily="49" charset="0"/>
                <a:cs typeface="Courier New" panose="02070309020205020404" pitchFamily="49" charset="0"/>
              </a:rPr>
              <a:t>manager | </a:t>
            </a:r>
            <a:r>
              <a:rPr lang="en-GB" sz="1200" b="1" kern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ercona</a:t>
            </a:r>
            <a:r>
              <a:rPr lang="en-GB" sz="1200" b="1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GB" sz="1200" b="1" kern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o@example.com</a:t>
            </a:r>
            <a:endParaRPr lang="en-GB" sz="1200" b="1" kern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  <a:p>
            <a:pPr marL="571500" indent="-342900">
              <a:buFont typeface="Arial" panose="020B0604020202020204" pitchFamily="34" charset="0"/>
              <a:buChar char="•"/>
            </a:pPr>
            <a:endParaRPr lang="en-PK" sz="1200" kern="0" dirty="0"/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kern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postgres -U </a:t>
            </a:r>
            <a:r>
              <a:rPr lang="en-GB" sz="1200" kern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mt</a:t>
            </a:r>
            <a:endParaRPr lang="en-GB" sz="1200" kern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&gt;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accounts;</a:t>
            </a: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 user     | company |  </a:t>
            </a:r>
            <a:r>
              <a:rPr lang="en-GB" sz="1200" kern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tact_email</a:t>
            </a:r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 </a:t>
            </a: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+---------+-----------------</a:t>
            </a: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200" b="1" kern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mt</a:t>
            </a:r>
            <a:r>
              <a:rPr lang="en-GB" sz="1200" b="1" kern="0" dirty="0">
                <a:latin typeface="Courier New" panose="02070309020205020404" pitchFamily="49" charset="0"/>
                <a:cs typeface="Courier New" panose="02070309020205020404" pitchFamily="49" charset="0"/>
              </a:rPr>
              <a:t>      | Google  | </a:t>
            </a:r>
            <a:r>
              <a:rPr lang="en-GB" sz="1200" b="1" kern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ar@example.com</a:t>
            </a:r>
            <a:endParaRPr lang="en-GB" sz="1200" b="1" kern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28600" indent="0"/>
            <a:r>
              <a:rPr lang="en-GB" sz="1200" kern="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  <a:p>
            <a:pPr marL="571500" indent="-342900">
              <a:buFont typeface="Arial" panose="020B0604020202020204" pitchFamily="34" charset="0"/>
              <a:buChar char="•"/>
            </a:pPr>
            <a:endParaRPr lang="en-PK" sz="1200" kern="0" dirty="0"/>
          </a:p>
          <a:p>
            <a:pPr marL="571500" indent="-342900">
              <a:buFont typeface="Arial" panose="020B0604020202020204" pitchFamily="34" charset="0"/>
              <a:buChar char="•"/>
            </a:pPr>
            <a:endParaRPr lang="en-PK" sz="1200" kern="0" dirty="0"/>
          </a:p>
        </p:txBody>
      </p:sp>
      <p:pic>
        <p:nvPicPr>
          <p:cNvPr id="6" name="Graphic 5" descr="Arrow: Straight">
            <a:extLst>
              <a:ext uri="{FF2B5EF4-FFF2-40B4-BE49-F238E27FC236}">
                <a16:creationId xmlns:a16="http://schemas.microsoft.com/office/drawing/2014/main" id="{22DF8172-7B0D-204B-AF2B-C54172B9FA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67625" y="1640333"/>
            <a:ext cx="914400" cy="521898"/>
          </a:xfrm>
          <a:prstGeom prst="rect">
            <a:avLst/>
          </a:prstGeom>
        </p:spPr>
      </p:pic>
      <p:pic>
        <p:nvPicPr>
          <p:cNvPr id="7" name="Graphic 6" descr="Arrow: Straight">
            <a:extLst>
              <a:ext uri="{FF2B5EF4-FFF2-40B4-BE49-F238E27FC236}">
                <a16:creationId xmlns:a16="http://schemas.microsoft.com/office/drawing/2014/main" id="{ED058095-7651-CB48-87E1-CEBC571D0F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12518" y="2502034"/>
            <a:ext cx="914400" cy="521898"/>
          </a:xfrm>
          <a:prstGeom prst="rect">
            <a:avLst/>
          </a:prstGeom>
        </p:spPr>
      </p:pic>
      <p:pic>
        <p:nvPicPr>
          <p:cNvPr id="8" name="Graphic 7" descr="Arrow: Straight">
            <a:extLst>
              <a:ext uri="{FF2B5EF4-FFF2-40B4-BE49-F238E27FC236}">
                <a16:creationId xmlns:a16="http://schemas.microsoft.com/office/drawing/2014/main" id="{7CF9E64F-2C82-DA41-BEA7-FDA9CB62FF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80595" y="3501892"/>
            <a:ext cx="914400" cy="521898"/>
          </a:xfrm>
          <a:prstGeom prst="rect">
            <a:avLst/>
          </a:prstGeom>
        </p:spPr>
      </p:pic>
      <p:pic>
        <p:nvPicPr>
          <p:cNvPr id="9" name="Graphic 8" descr="Arrow: Straight">
            <a:extLst>
              <a:ext uri="{FF2B5EF4-FFF2-40B4-BE49-F238E27FC236}">
                <a16:creationId xmlns:a16="http://schemas.microsoft.com/office/drawing/2014/main" id="{3D91BCD8-7035-FB44-9F61-54E8C48292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82760" y="4198530"/>
            <a:ext cx="914400" cy="521898"/>
          </a:xfrm>
          <a:prstGeom prst="rect">
            <a:avLst/>
          </a:prstGeom>
        </p:spPr>
      </p:pic>
      <p:pic>
        <p:nvPicPr>
          <p:cNvPr id="10" name="Graphic 9" descr="Arrow: Straight">
            <a:extLst>
              <a:ext uri="{FF2B5EF4-FFF2-40B4-BE49-F238E27FC236}">
                <a16:creationId xmlns:a16="http://schemas.microsoft.com/office/drawing/2014/main" id="{DD2148DA-88ED-7842-909C-320D0CD81A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32995" y="5102502"/>
            <a:ext cx="914400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125603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152;p16">
            <a:extLst>
              <a:ext uri="{FF2B5EF4-FFF2-40B4-BE49-F238E27FC236}">
                <a16:creationId xmlns:a16="http://schemas.microsoft.com/office/drawing/2014/main" id="{C7FA701E-79F0-2040-B261-917E857D8DCF}"/>
              </a:ext>
            </a:extLst>
          </p:cNvPr>
          <p:cNvSpPr txBox="1"/>
          <p:nvPr/>
        </p:nvSpPr>
        <p:spPr>
          <a:xfrm>
            <a:off x="108000" y="972000"/>
            <a:ext cx="11880000" cy="5302420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GB" sz="3200" dirty="0"/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GB" sz="3200" dirty="0"/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GB" sz="3200" dirty="0"/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GB" sz="3200" dirty="0"/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GB" sz="3200" dirty="0"/>
          </a:p>
          <a:p>
            <a:pPr lvl="0">
              <a:lnSpc>
                <a:spcPct val="200000"/>
              </a:lnSpc>
            </a:pPr>
            <a:endParaRPr lang="en-GB" sz="3200" dirty="0"/>
          </a:p>
        </p:txBody>
      </p:sp>
      <p:pic>
        <p:nvPicPr>
          <p:cNvPr id="8" name="Graphic 7" descr="Network diagram">
            <a:extLst>
              <a:ext uri="{FF2B5EF4-FFF2-40B4-BE49-F238E27FC236}">
                <a16:creationId xmlns:a16="http://schemas.microsoft.com/office/drawing/2014/main" id="{025106F1-D6F8-A340-A6F6-A4CCC1046E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15582" y="1130866"/>
            <a:ext cx="914400" cy="914400"/>
          </a:xfrm>
          <a:prstGeom prst="rect">
            <a:avLst/>
          </a:prstGeom>
        </p:spPr>
      </p:pic>
      <p:pic>
        <p:nvPicPr>
          <p:cNvPr id="11" name="Graphic 10" descr="Database">
            <a:extLst>
              <a:ext uri="{FF2B5EF4-FFF2-40B4-BE49-F238E27FC236}">
                <a16:creationId xmlns:a16="http://schemas.microsoft.com/office/drawing/2014/main" id="{1D47A2D3-7114-1445-B915-77B338DF37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15582" y="3120015"/>
            <a:ext cx="914400" cy="914400"/>
          </a:xfrm>
          <a:prstGeom prst="rect">
            <a:avLst/>
          </a:prstGeom>
        </p:spPr>
      </p:pic>
      <p:pic>
        <p:nvPicPr>
          <p:cNvPr id="13" name="Graphic 12" descr="Gears">
            <a:extLst>
              <a:ext uri="{FF2B5EF4-FFF2-40B4-BE49-F238E27FC236}">
                <a16:creationId xmlns:a16="http://schemas.microsoft.com/office/drawing/2014/main" id="{411F87C8-175D-7F42-880B-D4A9F46704A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5582" y="5109164"/>
            <a:ext cx="914400" cy="914400"/>
          </a:xfrm>
          <a:prstGeom prst="rect">
            <a:avLst/>
          </a:prstGeom>
        </p:spPr>
      </p:pic>
      <p:pic>
        <p:nvPicPr>
          <p:cNvPr id="17" name="Graphic 16" descr="Man">
            <a:extLst>
              <a:ext uri="{FF2B5EF4-FFF2-40B4-BE49-F238E27FC236}">
                <a16:creationId xmlns:a16="http://schemas.microsoft.com/office/drawing/2014/main" id="{6F0C534F-330A-F24B-AA0D-989747D73E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24252" y="3120015"/>
            <a:ext cx="1066863" cy="91440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3320016C-C53E-5341-B276-FA93E8A2A9D5}"/>
              </a:ext>
            </a:extLst>
          </p:cNvPr>
          <p:cNvSpPr txBox="1"/>
          <p:nvPr/>
        </p:nvSpPr>
        <p:spPr>
          <a:xfrm>
            <a:off x="7357103" y="1180113"/>
            <a:ext cx="1901389" cy="5027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400" tIns="0" rIns="5080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PK" sz="1600" b="0" i="1" u="none" strike="noStrike" cap="none" spc="39" normalizeH="0" baseline="0" dirty="0">
                <a:ln>
                  <a:noFill/>
                </a:ln>
                <a:solidFill>
                  <a:srgbClr val="5C5C5C"/>
                </a:solidFill>
                <a:effectLst/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rPr>
              <a:t>Network Logging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E235A9E-1DC6-3C49-A30A-50A0B01FB26A}"/>
              </a:ext>
            </a:extLst>
          </p:cNvPr>
          <p:cNvSpPr txBox="1"/>
          <p:nvPr/>
        </p:nvSpPr>
        <p:spPr>
          <a:xfrm>
            <a:off x="7333122" y="3178223"/>
            <a:ext cx="1949353" cy="5027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400" tIns="0" rIns="5080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PK" sz="1600" b="0" i="1" u="none" strike="noStrike" cap="none" spc="39" normalizeH="0" baseline="0" dirty="0">
                <a:ln>
                  <a:noFill/>
                </a:ln>
                <a:solidFill>
                  <a:srgbClr val="5C5C5C"/>
                </a:solidFill>
                <a:effectLst/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rPr>
              <a:t>Database Logging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0BC17EA-01E3-AB43-BE10-7060FE674CB1}"/>
              </a:ext>
            </a:extLst>
          </p:cNvPr>
          <p:cNvSpPr txBox="1"/>
          <p:nvPr/>
        </p:nvSpPr>
        <p:spPr>
          <a:xfrm>
            <a:off x="7528251" y="5209668"/>
            <a:ext cx="2101781" cy="5027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400" tIns="0" rIns="5080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PK" sz="1600" b="0" i="1" u="none" strike="noStrike" cap="none" spc="39" normalizeH="0" baseline="0" dirty="0">
                <a:ln>
                  <a:noFill/>
                </a:ln>
                <a:solidFill>
                  <a:srgbClr val="5C5C5C"/>
                </a:solidFill>
                <a:effectLst/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rPr>
              <a:t>Application Logg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A05DD9-F73B-D446-9641-17C64FF815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A</a:t>
            </a:r>
            <a:r>
              <a:rPr lang="en-GB" sz="3200" dirty="0"/>
              <a:t>ccounting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76546149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C74A99D-7712-8D4F-A27A-06E1BE2C46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PostgreSQL Built-in Logging System </a:t>
            </a:r>
          </a:p>
          <a:p>
            <a:pPr marL="742950" lvl="1" indent="-285750">
              <a:buFont typeface="Wingdings" pitchFamily="2" charset="2"/>
              <a:buChar char="§"/>
            </a:pP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log_statement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itchFamily="2" charset="2"/>
              <a:buChar char="§"/>
            </a:pP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pg_stat_statement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ird Party Tools</a:t>
            </a:r>
          </a:p>
          <a:p>
            <a:pPr marL="742950" lvl="1" indent="-285750">
              <a:buFont typeface="Wingdings" pitchFamily="2" charset="2"/>
              <a:buChar char="§"/>
            </a:pP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pg_stat_monitor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lvl="1" indent="0">
              <a:buNone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https://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github.com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percona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pg_stat_monitor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itchFamily="2" charset="2"/>
              <a:buChar char="§"/>
            </a:pP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pg_audit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/pgaudit/pgaudit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itchFamily="2" charset="2"/>
              <a:buChar char="§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udit-trigger3</a:t>
            </a:r>
          </a:p>
          <a:p>
            <a:pPr marL="457200" lvl="1" indent="0">
              <a:buNone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2ndQuadrant/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udit-trigger</a:t>
            </a:r>
          </a:p>
          <a:p>
            <a:pPr marL="742950" lvl="1" indent="-285750">
              <a:buFont typeface="Wingdings" pitchFamily="2" charset="2"/>
              <a:buChar char="§"/>
            </a:pPr>
            <a:endParaRPr lang="en-GB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rigger Based Custom Implementation</a:t>
            </a:r>
          </a:p>
          <a:p>
            <a:pPr lvl="1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PK" dirty="0"/>
          </a:p>
        </p:txBody>
      </p:sp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sz="3200" dirty="0">
                <a:latin typeface="Arial" panose="020B0604020202020204" pitchFamily="34" charset="0"/>
                <a:cs typeface="Arial" panose="020B0604020202020204" pitchFamily="34" charset="0"/>
              </a:rPr>
              <a:t>ccounting (</a:t>
            </a:r>
            <a:r>
              <a:rPr lang="en-GB" sz="3200" dirty="0"/>
              <a:t>Auditing</a:t>
            </a:r>
            <a:r>
              <a:rPr lang="en-GB" sz="32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sz="3000" dirty="0"/>
          </a:p>
        </p:txBody>
      </p:sp>
    </p:spTree>
    <p:extLst>
      <p:ext uri="{BB962C8B-B14F-4D97-AF65-F5344CB8AC3E}">
        <p14:creationId xmlns:p14="http://schemas.microsoft.com/office/powerpoint/2010/main" val="1048439434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7D27C5C-B156-524E-A5DF-984B532C97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571500" indent="-342900">
              <a:buFont typeface="Arial" panose="020B0604020202020204" pitchFamily="34" charset="0"/>
              <a:buChar char="•"/>
            </a:pPr>
            <a:r>
              <a:rPr lang="en-GB" sz="2400" dirty="0"/>
              <a:t>Encryption at Rest</a:t>
            </a:r>
          </a:p>
          <a:p>
            <a:pPr marL="1257300" lvl="1" indent="-342900">
              <a:buFont typeface="Wingdings" pitchFamily="2" charset="2"/>
              <a:buChar char="§"/>
            </a:pPr>
            <a:r>
              <a:rPr lang="en-GB" sz="2400" dirty="0"/>
              <a:t>File System Encryption</a:t>
            </a:r>
          </a:p>
          <a:p>
            <a:pPr marL="1257300" lvl="1" indent="-342900">
              <a:buFont typeface="Wingdings" pitchFamily="2" charset="2"/>
              <a:buChar char="§"/>
            </a:pPr>
            <a:r>
              <a:rPr lang="en-GB" sz="2400" dirty="0"/>
              <a:t>PostgreSQL Extension pg_crypto</a:t>
            </a:r>
          </a:p>
          <a:p>
            <a:pPr marL="1257300" lvl="1" indent="-342900">
              <a:buFont typeface="Wingdings" pitchFamily="2" charset="2"/>
              <a:buChar char="§"/>
            </a:pPr>
            <a:r>
              <a:rPr lang="en-GB" sz="2400" dirty="0"/>
              <a:t>Database / Table level encryption</a:t>
            </a:r>
            <a:r>
              <a:rPr lang="en-GB" sz="2400" baseline="30000" dirty="0"/>
              <a:t>1,2</a:t>
            </a:r>
            <a:r>
              <a:rPr lang="en-GB" sz="2400" dirty="0"/>
              <a:t> </a:t>
            </a:r>
          </a:p>
          <a:p>
            <a:pPr marL="914400" indent="-342900">
              <a:buFont typeface="Arial" panose="020B0604020202020204" pitchFamily="34" charset="0"/>
              <a:buChar char="•"/>
            </a:pPr>
            <a:r>
              <a:rPr lang="en-GB" sz="2400" dirty="0"/>
              <a:t>Application-Level Encryption</a:t>
            </a:r>
          </a:p>
          <a:p>
            <a:pPr marL="1257300" lvl="1" indent="-342900">
              <a:buFont typeface="Wingdings" pitchFamily="2" charset="2"/>
              <a:buChar char="§"/>
            </a:pPr>
            <a:r>
              <a:rPr lang="en-GB" sz="2400" dirty="0"/>
              <a:t>PGP </a:t>
            </a:r>
          </a:p>
          <a:p>
            <a:pPr marL="1257300" lvl="1" indent="-342900">
              <a:buFont typeface="Wingdings" pitchFamily="2" charset="2"/>
              <a:buChar char="§"/>
            </a:pPr>
            <a:r>
              <a:rPr lang="en-GB" sz="2400" dirty="0"/>
              <a:t>OpenSSL </a:t>
            </a:r>
          </a:p>
          <a:p>
            <a:pPr marL="1257300" lvl="1" indent="-342900">
              <a:buFont typeface="Wingdings" pitchFamily="2" charset="2"/>
              <a:buChar char="§"/>
            </a:pPr>
            <a:r>
              <a:rPr lang="en-GB" sz="2400" dirty="0"/>
              <a:t>Hashing</a:t>
            </a:r>
          </a:p>
          <a:p>
            <a:pPr marL="914400" indent="-342900">
              <a:buFont typeface="Arial" panose="020B0604020202020204" pitchFamily="34" charset="0"/>
              <a:buChar char="•"/>
            </a:pPr>
            <a:r>
              <a:rPr lang="en-GB" sz="2400" dirty="0"/>
              <a:t>Encryption in Transit</a:t>
            </a:r>
          </a:p>
          <a:p>
            <a:pPr marL="1257300" lvl="1" indent="-342900">
              <a:buFont typeface="Wingdings" pitchFamily="2" charset="2"/>
              <a:buChar char="§"/>
            </a:pPr>
            <a:r>
              <a:rPr lang="en-GB" sz="2400" dirty="0"/>
              <a:t>SSL</a:t>
            </a:r>
          </a:p>
          <a:p>
            <a:pPr lvl="1" defTabSz="914400"/>
            <a:r>
              <a:rPr lang="en-GB" sz="1000" i="1" u="sng" dirty="0">
                <a:solidFill>
                  <a:srgbClr val="0070C0"/>
                </a:solidFill>
                <a:hlinkClick r:id="rId3"/>
              </a:rPr>
              <a:t>https://wiki.postgresql.org/wiki/Transparent_Data_Encryption#TDE_in_other_systems</a:t>
            </a:r>
            <a:endParaRPr lang="en-GB" sz="1000" i="1" u="sng" dirty="0">
              <a:solidFill>
                <a:srgbClr val="0070C0"/>
              </a:solidFill>
            </a:endParaRPr>
          </a:p>
          <a:p>
            <a:pPr lvl="1" defTabSz="914400"/>
            <a:r>
              <a:rPr lang="en-GB" sz="1000" i="1" u="sng" dirty="0">
                <a:solidFill>
                  <a:srgbClr val="0070C0"/>
                </a:solidFill>
              </a:rPr>
              <a:t>Note: Discussion is going on to implement that in PostgreSQL.</a:t>
            </a:r>
          </a:p>
          <a:p>
            <a:pPr marL="171450" lvl="1" indent="-171450" defTabSz="914400"/>
            <a:endParaRPr lang="en-GB" sz="1000" i="1" u="sng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PK" dirty="0"/>
          </a:p>
        </p:txBody>
      </p:sp>
      <p:sp>
        <p:nvSpPr>
          <p:cNvPr id="257" name="Google Shape;257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b="1" dirty="0">
                <a:solidFill>
                  <a:srgbClr val="0070C0"/>
                </a:solidFill>
              </a:rPr>
              <a:t>E</a:t>
            </a:r>
            <a:r>
              <a:rPr lang="en-GB" dirty="0"/>
              <a:t>ncryption</a:t>
            </a:r>
          </a:p>
        </p:txBody>
      </p:sp>
    </p:spTree>
    <p:extLst>
      <p:ext uri="{BB962C8B-B14F-4D97-AF65-F5344CB8AC3E}">
        <p14:creationId xmlns:p14="http://schemas.microsoft.com/office/powerpoint/2010/main" val="941343352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3B96FBB-389B-EB47-9920-D4F58D8455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5143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GB" sz="2100" dirty="0"/>
              <a:t>Linux "loopback device”  (Linux)</a:t>
            </a:r>
          </a:p>
          <a:p>
            <a:pPr marL="5143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GB" sz="2100" dirty="0"/>
              <a:t>GEOM Based Disk Encryption, or </a:t>
            </a:r>
            <a:r>
              <a:rPr lang="en-GB" sz="2100" dirty="0" err="1"/>
              <a:t>gbde</a:t>
            </a:r>
            <a:r>
              <a:rPr lang="en-GB" sz="2100" dirty="0"/>
              <a:t> (FreeBSD)</a:t>
            </a:r>
          </a:p>
          <a:p>
            <a:pPr marL="5143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GB" sz="2100" dirty="0"/>
              <a:t>dm-crypt</a:t>
            </a:r>
            <a:r>
              <a:rPr lang="en-GB" sz="2100" baseline="30000" dirty="0"/>
              <a:t>1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sz="1300" i="1" dirty="0">
                <a:solidFill>
                  <a:srgbClr val="0070C0"/>
                </a:solidFill>
              </a:rPr>
              <a:t>https://</a:t>
            </a:r>
            <a:r>
              <a:rPr lang="en-GB" sz="1300" i="1" dirty="0" err="1">
                <a:solidFill>
                  <a:srgbClr val="0070C0"/>
                </a:solidFill>
              </a:rPr>
              <a:t>wiki.archlinux.org</a:t>
            </a:r>
            <a:r>
              <a:rPr lang="en-GB" sz="1300" i="1" dirty="0">
                <a:solidFill>
                  <a:srgbClr val="0070C0"/>
                </a:solidFill>
              </a:rPr>
              <a:t>/</a:t>
            </a:r>
            <a:r>
              <a:rPr lang="en-GB" sz="1300" i="1" dirty="0" err="1">
                <a:solidFill>
                  <a:srgbClr val="0070C0"/>
                </a:solidFill>
              </a:rPr>
              <a:t>index.php</a:t>
            </a:r>
            <a:r>
              <a:rPr lang="en-GB" sz="1300" i="1" dirty="0">
                <a:solidFill>
                  <a:srgbClr val="0070C0"/>
                </a:solidFill>
              </a:rPr>
              <a:t>/Dm-crypt/</a:t>
            </a:r>
            <a:r>
              <a:rPr lang="en-GB" sz="1300" i="1" dirty="0" err="1">
                <a:solidFill>
                  <a:srgbClr val="0070C0"/>
                </a:solidFill>
              </a:rPr>
              <a:t>Device_encryption</a:t>
            </a:r>
            <a:endParaRPr lang="en-GB" sz="1300" i="1" dirty="0">
              <a:solidFill>
                <a:srgbClr val="0070C0"/>
              </a:solidFill>
            </a:endParaRPr>
          </a:p>
          <a:p>
            <a:br>
              <a:rPr lang="en-GB" dirty="0"/>
            </a:br>
            <a:r>
              <a:rPr lang="en-GB" dirty="0"/>
              <a:t> </a:t>
            </a:r>
            <a:r>
              <a:rPr lang="en-PK" dirty="0">
                <a:latin typeface="Arial" panose="020B0604020202020204" pitchFamily="34" charset="0"/>
                <a:cs typeface="Arial" panose="020B0604020202020204" pitchFamily="34" charset="0"/>
              </a:rPr>
              <a:t>					</a:t>
            </a:r>
          </a:p>
          <a:p>
            <a:endParaRPr lang="en-PK" dirty="0"/>
          </a:p>
        </p:txBody>
      </p:sp>
      <p:sp>
        <p:nvSpPr>
          <p:cNvPr id="265" name="Google Shape;265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b="1" dirty="0">
                <a:solidFill>
                  <a:srgbClr val="0070C0"/>
                </a:solidFill>
              </a:rPr>
              <a:t>E</a:t>
            </a:r>
            <a:r>
              <a:rPr lang="en-GB" dirty="0"/>
              <a:t>ncryption - File system disk encryption</a:t>
            </a:r>
          </a:p>
        </p:txBody>
      </p:sp>
    </p:spTree>
    <p:extLst>
      <p:ext uri="{BB962C8B-B14F-4D97-AF65-F5344CB8AC3E}">
        <p14:creationId xmlns:p14="http://schemas.microsoft.com/office/powerpoint/2010/main" val="2878318619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0" r="14670"/>
          <a:stretch>
            <a:fillRect/>
          </a:stretch>
        </p:blipFill>
        <p:spPr>
          <a:xfrm>
            <a:off x="905522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accent1"/>
                  </a:solidFill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chemeClr val="accent1"/>
                </a:solidFill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accent1"/>
                  </a:solidFill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chemeClr val="accent1"/>
                </a:solidFill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/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/>
              <a:t>Senior Software Architect</a:t>
            </a:r>
            <a:endParaRPr lang="ko-KR" alt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bg1"/>
                </a:solidFill>
              </a:rPr>
              <a:t>Percona LLC</a:t>
            </a:r>
            <a:endParaRPr lang="ko-KR" alt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" name="Rounded Rectangle 8">
            <a:extLst>
              <a:ext uri="{FF2B5EF4-FFF2-40B4-BE49-F238E27FC236}">
                <a16:creationId xmlns:a16="http://schemas.microsoft.com/office/drawing/2014/main" id="{59890463-B869-E645-9066-8D05B4322A1F}"/>
              </a:ext>
            </a:extLst>
          </p:cNvPr>
          <p:cNvSpPr/>
          <p:nvPr/>
        </p:nvSpPr>
        <p:spPr>
          <a:xfrm>
            <a:off x="4221742" y="5552835"/>
            <a:ext cx="519323" cy="519265"/>
          </a:xfrm>
          <a:custGeom>
            <a:avLst/>
            <a:gdLst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688485 w 3888432"/>
              <a:gd name="connsiteY5" fmla="*/ 147563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2688485 w 3888432"/>
              <a:gd name="connsiteY17" fmla="*/ 1475633 h 3960440"/>
              <a:gd name="connsiteX18" fmla="*/ 878058 w 3888432"/>
              <a:gd name="connsiteY18" fmla="*/ 648072 h 3960440"/>
              <a:gd name="connsiteX19" fmla="*/ 554477 w 3888432"/>
              <a:gd name="connsiteY19" fmla="*/ 971653 h 3960440"/>
              <a:gd name="connsiteX20" fmla="*/ 878058 w 3888432"/>
              <a:gd name="connsiteY20" fmla="*/ 1295234 h 3960440"/>
              <a:gd name="connsiteX21" fmla="*/ 1201639 w 3888432"/>
              <a:gd name="connsiteY21" fmla="*/ 971653 h 3960440"/>
              <a:gd name="connsiteX22" fmla="*/ 878058 w 3888432"/>
              <a:gd name="connsiteY22" fmla="*/ 648072 h 3960440"/>
              <a:gd name="connsiteX23" fmla="*/ 333511 w 3888432"/>
              <a:gd name="connsiteY23" fmla="*/ 0 h 3960440"/>
              <a:gd name="connsiteX24" fmla="*/ 3554921 w 3888432"/>
              <a:gd name="connsiteY24" fmla="*/ 0 h 3960440"/>
              <a:gd name="connsiteX25" fmla="*/ 3888432 w 3888432"/>
              <a:gd name="connsiteY25" fmla="*/ 333511 h 3960440"/>
              <a:gd name="connsiteX26" fmla="*/ 3888432 w 3888432"/>
              <a:gd name="connsiteY26" fmla="*/ 3626929 h 3960440"/>
              <a:gd name="connsiteX27" fmla="*/ 3554921 w 3888432"/>
              <a:gd name="connsiteY27" fmla="*/ 3960440 h 3960440"/>
              <a:gd name="connsiteX28" fmla="*/ 333511 w 3888432"/>
              <a:gd name="connsiteY28" fmla="*/ 3960440 h 3960440"/>
              <a:gd name="connsiteX29" fmla="*/ 0 w 3888432"/>
              <a:gd name="connsiteY29" fmla="*/ 3626929 h 3960440"/>
              <a:gd name="connsiteX30" fmla="*/ 0 w 3888432"/>
              <a:gd name="connsiteY30" fmla="*/ 333511 h 3960440"/>
              <a:gd name="connsiteX31" fmla="*/ 333511 w 3888432"/>
              <a:gd name="connsiteY31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888432" h="3960440">
                <a:moveTo>
                  <a:pt x="554477" y="1512168"/>
                </a:moveTo>
                <a:lnTo>
                  <a:pt x="554477" y="3312368"/>
                </a:lnTo>
                <a:lnTo>
                  <a:pt x="1201638" y="3312368"/>
                </a:lnTo>
                <a:lnTo>
                  <a:pt x="1201638" y="1512168"/>
                </a:lnTo>
                <a:lnTo>
                  <a:pt x="554477" y="1512168"/>
                </a:lnTo>
                <a:close/>
                <a:moveTo>
                  <a:pt x="2840340" y="1479943"/>
                </a:moveTo>
                <a:cubicBezTo>
                  <a:pt x="2293254" y="1484797"/>
                  <a:pt x="2254084" y="1780470"/>
                  <a:pt x="2136833" y="1785510"/>
                </a:cubicBezTo>
                <a:lnTo>
                  <a:pt x="2136833" y="1510185"/>
                </a:lnTo>
                <a:lnTo>
                  <a:pt x="1489672" y="1510185"/>
                </a:lnTo>
                <a:lnTo>
                  <a:pt x="1489672" y="3310385"/>
                </a:lnTo>
                <a:lnTo>
                  <a:pt x="2136833" y="3310385"/>
                </a:lnTo>
                <a:cubicBezTo>
                  <a:pt x="2140283" y="2925445"/>
                  <a:pt x="2133383" y="2560917"/>
                  <a:pt x="2147184" y="2155564"/>
                </a:cubicBezTo>
                <a:cubicBezTo>
                  <a:pt x="2187272" y="1842063"/>
                  <a:pt x="2668986" y="1938990"/>
                  <a:pt x="2673919" y="2138897"/>
                </a:cubicBezTo>
                <a:lnTo>
                  <a:pt x="2679688" y="3312366"/>
                </a:lnTo>
                <a:lnTo>
                  <a:pt x="3326849" y="3312366"/>
                </a:lnTo>
                <a:cubicBezTo>
                  <a:pt x="3329155" y="2917782"/>
                  <a:pt x="3331462" y="2523197"/>
                  <a:pt x="3333768" y="2128613"/>
                </a:cubicBezTo>
                <a:cubicBezTo>
                  <a:pt x="3339026" y="1942962"/>
                  <a:pt x="3184753" y="1475890"/>
                  <a:pt x="2840340" y="1479943"/>
                </a:cubicBezTo>
                <a:close/>
                <a:moveTo>
                  <a:pt x="878058" y="648072"/>
                </a:moveTo>
                <a:cubicBezTo>
                  <a:pt x="699349" y="648072"/>
                  <a:pt x="554477" y="792944"/>
                  <a:pt x="554477" y="971653"/>
                </a:cubicBezTo>
                <a:cubicBezTo>
                  <a:pt x="554477" y="1150362"/>
                  <a:pt x="699349" y="1295234"/>
                  <a:pt x="878058" y="1295234"/>
                </a:cubicBezTo>
                <a:cubicBezTo>
                  <a:pt x="1056767" y="1295234"/>
                  <a:pt x="1201639" y="1150362"/>
                  <a:pt x="1201639" y="971653"/>
                </a:cubicBezTo>
                <a:cubicBezTo>
                  <a:pt x="1201639" y="792944"/>
                  <a:pt x="1056767" y="648072"/>
                  <a:pt x="878058" y="648072"/>
                </a:cubicBezTo>
                <a:close/>
                <a:moveTo>
                  <a:pt x="333511" y="0"/>
                </a:moveTo>
                <a:lnTo>
                  <a:pt x="3554921" y="0"/>
                </a:lnTo>
                <a:cubicBezTo>
                  <a:pt x="3739114" y="0"/>
                  <a:pt x="3888432" y="149318"/>
                  <a:pt x="3888432" y="333511"/>
                </a:cubicBezTo>
                <a:lnTo>
                  <a:pt x="3888432" y="3626929"/>
                </a:lnTo>
                <a:cubicBezTo>
                  <a:pt x="3888432" y="3811122"/>
                  <a:pt x="3739114" y="3960440"/>
                  <a:pt x="3554921" y="3960440"/>
                </a:cubicBezTo>
                <a:lnTo>
                  <a:pt x="333511" y="3960440"/>
                </a:lnTo>
                <a:cubicBezTo>
                  <a:pt x="149318" y="3960440"/>
                  <a:pt x="0" y="3811122"/>
                  <a:pt x="0" y="3626929"/>
                </a:cubicBezTo>
                <a:lnTo>
                  <a:pt x="0" y="333511"/>
                </a:lnTo>
                <a:cubicBezTo>
                  <a:pt x="0" y="149318"/>
                  <a:pt x="149318" y="0"/>
                  <a:pt x="3335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25" name="Rounded Rectangle 2">
            <a:extLst>
              <a:ext uri="{FF2B5EF4-FFF2-40B4-BE49-F238E27FC236}">
                <a16:creationId xmlns:a16="http://schemas.microsoft.com/office/drawing/2014/main" id="{6089FCE7-8884-9741-80B8-4AC63C71AB34}"/>
              </a:ext>
            </a:extLst>
          </p:cNvPr>
          <p:cNvSpPr/>
          <p:nvPr/>
        </p:nvSpPr>
        <p:spPr>
          <a:xfrm>
            <a:off x="4221743" y="3658736"/>
            <a:ext cx="519265" cy="519265"/>
          </a:xfrm>
          <a:custGeom>
            <a:avLst/>
            <a:gdLst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155131 w 3960000"/>
              <a:gd name="connsiteY16" fmla="*/ 1419365 h 3960000"/>
              <a:gd name="connsiteX17" fmla="*/ 3207849 w 3960000"/>
              <a:gd name="connsiteY17" fmla="*/ 1493166 h 3960000"/>
              <a:gd name="connsiteX18" fmla="*/ 3407333 w 3960000"/>
              <a:gd name="connsiteY18" fmla="*/ 1117847 h 3960000"/>
              <a:gd name="connsiteX19" fmla="*/ 3108461 w 3960000"/>
              <a:gd name="connsiteY19" fmla="*/ 1185086 h 3960000"/>
              <a:gd name="connsiteX20" fmla="*/ 3334650 w 3960000"/>
              <a:gd name="connsiteY20" fmla="*/ 883134 h 3960000"/>
              <a:gd name="connsiteX21" fmla="*/ 2995677 w 3960000"/>
              <a:gd name="connsiteY21" fmla="*/ 1008938 h 3960000"/>
              <a:gd name="connsiteX22" fmla="*/ 2538382 w 3960000"/>
              <a:gd name="connsiteY22" fmla="*/ 802616 h 3960000"/>
              <a:gd name="connsiteX23" fmla="*/ 308009 w 3960000"/>
              <a:gd name="connsiteY23" fmla="*/ 0 h 3960000"/>
              <a:gd name="connsiteX24" fmla="*/ 3651991 w 3960000"/>
              <a:gd name="connsiteY24" fmla="*/ 0 h 3960000"/>
              <a:gd name="connsiteX25" fmla="*/ 3960000 w 3960000"/>
              <a:gd name="connsiteY25" fmla="*/ 308009 h 3960000"/>
              <a:gd name="connsiteX26" fmla="*/ 3960000 w 3960000"/>
              <a:gd name="connsiteY26" fmla="*/ 3651991 h 3960000"/>
              <a:gd name="connsiteX27" fmla="*/ 3651991 w 3960000"/>
              <a:gd name="connsiteY27" fmla="*/ 3960000 h 3960000"/>
              <a:gd name="connsiteX28" fmla="*/ 308009 w 3960000"/>
              <a:gd name="connsiteY28" fmla="*/ 3960000 h 3960000"/>
              <a:gd name="connsiteX29" fmla="*/ 0 w 3960000"/>
              <a:gd name="connsiteY29" fmla="*/ 3651991 h 3960000"/>
              <a:gd name="connsiteX30" fmla="*/ 0 w 3960000"/>
              <a:gd name="connsiteY30" fmla="*/ 308009 h 3960000"/>
              <a:gd name="connsiteX31" fmla="*/ 308009 w 3960000"/>
              <a:gd name="connsiteY31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207849 w 3960000"/>
              <a:gd name="connsiteY16" fmla="*/ 1493166 h 3960000"/>
              <a:gd name="connsiteX17" fmla="*/ 3407333 w 3960000"/>
              <a:gd name="connsiteY17" fmla="*/ 1117847 h 3960000"/>
              <a:gd name="connsiteX18" fmla="*/ 3108461 w 3960000"/>
              <a:gd name="connsiteY18" fmla="*/ 1185086 h 3960000"/>
              <a:gd name="connsiteX19" fmla="*/ 3334650 w 3960000"/>
              <a:gd name="connsiteY19" fmla="*/ 883134 h 3960000"/>
              <a:gd name="connsiteX20" fmla="*/ 2995677 w 3960000"/>
              <a:gd name="connsiteY20" fmla="*/ 1008938 h 3960000"/>
              <a:gd name="connsiteX21" fmla="*/ 2538382 w 3960000"/>
              <a:gd name="connsiteY21" fmla="*/ 802616 h 3960000"/>
              <a:gd name="connsiteX22" fmla="*/ 308009 w 3960000"/>
              <a:gd name="connsiteY22" fmla="*/ 0 h 3960000"/>
              <a:gd name="connsiteX23" fmla="*/ 3651991 w 3960000"/>
              <a:gd name="connsiteY23" fmla="*/ 0 h 3960000"/>
              <a:gd name="connsiteX24" fmla="*/ 3960000 w 3960000"/>
              <a:gd name="connsiteY24" fmla="*/ 308009 h 3960000"/>
              <a:gd name="connsiteX25" fmla="*/ 3960000 w 3960000"/>
              <a:gd name="connsiteY25" fmla="*/ 3651991 h 3960000"/>
              <a:gd name="connsiteX26" fmla="*/ 3651991 w 3960000"/>
              <a:gd name="connsiteY26" fmla="*/ 3960000 h 3960000"/>
              <a:gd name="connsiteX27" fmla="*/ 308009 w 3960000"/>
              <a:gd name="connsiteY27" fmla="*/ 3960000 h 3960000"/>
              <a:gd name="connsiteX28" fmla="*/ 0 w 3960000"/>
              <a:gd name="connsiteY28" fmla="*/ 3651991 h 3960000"/>
              <a:gd name="connsiteX29" fmla="*/ 0 w 3960000"/>
              <a:gd name="connsiteY29" fmla="*/ 308009 h 3960000"/>
              <a:gd name="connsiteX30" fmla="*/ 308009 w 3960000"/>
              <a:gd name="connsiteY30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08461 w 3960000"/>
              <a:gd name="connsiteY17" fmla="*/ 1185086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60000" h="3960000">
                <a:moveTo>
                  <a:pt x="3160999" y="1374274"/>
                </a:moveTo>
                <a:lnTo>
                  <a:pt x="3155132" y="1419362"/>
                </a:lnTo>
                <a:lnTo>
                  <a:pt x="3160999" y="1374274"/>
                </a:lnTo>
                <a:close/>
                <a:moveTo>
                  <a:pt x="2496208" y="770986"/>
                </a:moveTo>
                <a:cubicBezTo>
                  <a:pt x="2113414" y="770986"/>
                  <a:pt x="1929581" y="1106902"/>
                  <a:pt x="1921633" y="1292845"/>
                </a:cubicBezTo>
                <a:cubicBezTo>
                  <a:pt x="1914712" y="1454769"/>
                  <a:pt x="1928136" y="1522392"/>
                  <a:pt x="1942445" y="1570340"/>
                </a:cubicBezTo>
                <a:cubicBezTo>
                  <a:pt x="1547199" y="1510736"/>
                  <a:pt x="1237189" y="1330681"/>
                  <a:pt x="815277" y="836121"/>
                </a:cubicBezTo>
                <a:cubicBezTo>
                  <a:pt x="618819" y="1229038"/>
                  <a:pt x="733086" y="1558961"/>
                  <a:pt x="965659" y="1735195"/>
                </a:cubicBezTo>
                <a:cubicBezTo>
                  <a:pt x="864541" y="1716416"/>
                  <a:pt x="662904" y="1695759"/>
                  <a:pt x="570453" y="1629310"/>
                </a:cubicBezTo>
                <a:cubicBezTo>
                  <a:pt x="597898" y="2016450"/>
                  <a:pt x="990931" y="2177657"/>
                  <a:pt x="1196057" y="2257108"/>
                </a:cubicBezTo>
                <a:cubicBezTo>
                  <a:pt x="1113718" y="2275887"/>
                  <a:pt x="943857" y="2321380"/>
                  <a:pt x="813848" y="2296824"/>
                </a:cubicBezTo>
                <a:cubicBezTo>
                  <a:pt x="926523" y="2634848"/>
                  <a:pt x="1326064" y="2611755"/>
                  <a:pt x="1486410" y="2607420"/>
                </a:cubicBezTo>
                <a:cubicBezTo>
                  <a:pt x="1297174" y="2749708"/>
                  <a:pt x="1000058" y="2795794"/>
                  <a:pt x="489408" y="2829018"/>
                </a:cubicBezTo>
                <a:cubicBezTo>
                  <a:pt x="914827" y="3139596"/>
                  <a:pt x="1734874" y="3242281"/>
                  <a:pt x="2062787" y="3146219"/>
                </a:cubicBezTo>
                <a:cubicBezTo>
                  <a:pt x="2763394" y="2903535"/>
                  <a:pt x="2915370" y="2621267"/>
                  <a:pt x="3074271" y="2105563"/>
                </a:cubicBezTo>
                <a:cubicBezTo>
                  <a:pt x="3173740" y="1733406"/>
                  <a:pt x="3145310" y="1648999"/>
                  <a:pt x="3207849" y="1493166"/>
                </a:cubicBezTo>
                <a:cubicBezTo>
                  <a:pt x="3270388" y="1337333"/>
                  <a:pt x="3414210" y="1276468"/>
                  <a:pt x="3449507" y="1170564"/>
                </a:cubicBezTo>
                <a:cubicBezTo>
                  <a:pt x="3349883" y="1192977"/>
                  <a:pt x="3252716" y="1239516"/>
                  <a:pt x="3140091" y="1227260"/>
                </a:cubicBezTo>
                <a:cubicBezTo>
                  <a:pt x="3219995" y="1183499"/>
                  <a:pt x="3274317" y="996523"/>
                  <a:pt x="3324107" y="851504"/>
                </a:cubicBezTo>
                <a:cubicBezTo>
                  <a:pt x="3215037" y="921165"/>
                  <a:pt x="3152155" y="998691"/>
                  <a:pt x="2995677" y="1008938"/>
                </a:cubicBezTo>
                <a:cubicBezTo>
                  <a:pt x="2884471" y="881691"/>
                  <a:pt x="2678487" y="770986"/>
                  <a:pt x="2496208" y="770986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26" name="Rounded Rectangle 3">
            <a:extLst>
              <a:ext uri="{FF2B5EF4-FFF2-40B4-BE49-F238E27FC236}">
                <a16:creationId xmlns:a16="http://schemas.microsoft.com/office/drawing/2014/main" id="{2B6A6525-EA87-A045-B029-29A5211C880F}"/>
              </a:ext>
            </a:extLst>
          </p:cNvPr>
          <p:cNvSpPr>
            <a:spLocks noChangeAspect="1"/>
          </p:cNvSpPr>
          <p:nvPr/>
        </p:nvSpPr>
        <p:spPr>
          <a:xfrm>
            <a:off x="4221742" y="4662045"/>
            <a:ext cx="519265" cy="519265"/>
          </a:xfrm>
          <a:custGeom>
            <a:avLst/>
            <a:gdLst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59137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960000" h="3960000">
                <a:moveTo>
                  <a:pt x="2841893" y="181064"/>
                </a:moveTo>
                <a:cubicBezTo>
                  <a:pt x="2485731" y="190239"/>
                  <a:pt x="2106781" y="339266"/>
                  <a:pt x="2105790" y="859562"/>
                </a:cubicBezTo>
                <a:lnTo>
                  <a:pt x="2106860" y="863292"/>
                </a:lnTo>
                <a:lnTo>
                  <a:pt x="2106860" y="1248172"/>
                </a:lnTo>
                <a:lnTo>
                  <a:pt x="1691968" y="1248172"/>
                </a:lnTo>
                <a:lnTo>
                  <a:pt x="1691968" y="1824236"/>
                </a:lnTo>
                <a:lnTo>
                  <a:pt x="2106860" y="1824236"/>
                </a:lnTo>
                <a:lnTo>
                  <a:pt x="2106860" y="3779396"/>
                </a:lnTo>
                <a:lnTo>
                  <a:pt x="2754932" y="3779396"/>
                </a:lnTo>
                <a:lnTo>
                  <a:pt x="2754932" y="1824236"/>
                </a:lnTo>
                <a:lnTo>
                  <a:pt x="3305869" y="1813665"/>
                </a:lnTo>
                <a:lnTo>
                  <a:pt x="3348152" y="1248172"/>
                </a:lnTo>
                <a:lnTo>
                  <a:pt x="2754932" y="1248172"/>
                </a:lnTo>
                <a:lnTo>
                  <a:pt x="2754932" y="907124"/>
                </a:lnTo>
                <a:cubicBezTo>
                  <a:pt x="2746287" y="682909"/>
                  <a:pt x="3126764" y="685506"/>
                  <a:pt x="3369037" y="704441"/>
                </a:cubicBezTo>
                <a:cubicBezTo>
                  <a:pt x="3391941" y="556446"/>
                  <a:pt x="3409927" y="381656"/>
                  <a:pt x="3410216" y="195189"/>
                </a:cubicBezTo>
                <a:cubicBezTo>
                  <a:pt x="3239930" y="163882"/>
                  <a:pt x="3118909" y="173928"/>
                  <a:pt x="2841893" y="181064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@</a:t>
            </a:r>
            <a:r>
              <a:rPr lang="en-GB" sz="1200" dirty="0" err="1"/>
              <a:t>ibrar_ahmad</a:t>
            </a:r>
            <a:endParaRPr lang="ko-KR" altLang="en-US" sz="12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1"/>
                </a:solidFill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accent1"/>
                </a:solidFill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accent1"/>
                </a:solidFill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accent1"/>
                </a:solidFill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hlinkClick r:id="rId3"/>
              </a:rPr>
              <a:t>https://www.linkedin.com/in/ibrarahmed74/</a:t>
            </a:r>
            <a:endParaRPr lang="ko-KR" altLang="en-US" sz="12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/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/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chemeClr val="accent1"/>
                </a:solidFill>
                <a:cs typeface="Arial" pitchFamily="34" charset="0"/>
              </a:rPr>
              <a:t>PostgreSQL</a:t>
            </a:r>
            <a:r>
              <a:rPr lang="en-US" sz="1400" dirty="0"/>
              <a:t> </a:t>
            </a:r>
            <a:r>
              <a:rPr lang="en-US" sz="1400" b="1" dirty="0">
                <a:solidFill>
                  <a:schemeClr val="accent1"/>
                </a:solidFill>
                <a:cs typeface="Arial" pitchFamily="34" charset="0"/>
              </a:rPr>
              <a:t>Books</a:t>
            </a:r>
          </a:p>
        </p:txBody>
      </p:sp>
    </p:spTree>
    <p:extLst>
      <p:ext uri="{BB962C8B-B14F-4D97-AF65-F5344CB8AC3E}">
        <p14:creationId xmlns:p14="http://schemas.microsoft.com/office/powerpoint/2010/main" val="351260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2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b="1" dirty="0">
                <a:solidFill>
                  <a:srgbClr val="0070C0"/>
                </a:solidFill>
              </a:rPr>
              <a:t>E</a:t>
            </a:r>
            <a:r>
              <a:rPr lang="en-GB" dirty="0"/>
              <a:t>ncryption  - </a:t>
            </a:r>
            <a:r>
              <a:rPr lang="en-GB" dirty="0" err="1"/>
              <a:t>pg_crypto</a:t>
            </a:r>
            <a:r>
              <a:rPr lang="en-GB" dirty="0"/>
              <a:t> 1/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D6116A-ADBE-EF4E-8CE3-994D1EC5ED5F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154910" y="884677"/>
            <a:ext cx="11879263" cy="2957512"/>
          </a:xfr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>
            <a:noAutofit/>
          </a:bodyPr>
          <a:lstStyle/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(id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name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data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;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(1, 'foo', PGP_SYM_ENCRYPT('bar', 'AES_KEY'))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*  </a:t>
            </a:r>
            <a:r>
              <a:rPr lang="en-GB" sz="1300" kern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d | name |                                     data                                                          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+------+------------------------------------------------------------------------------------------------------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1 | foo  |\xc30d04070302fa4baef6a85a27e57dd23401c27ec400371477842f2e23a8f2f8e5ca11026323788d405c6d8d1b4037…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122EC7A-0E3C-3C4F-AE40-D538E0927C8F}"/>
              </a:ext>
            </a:extLst>
          </p:cNvPr>
          <p:cNvSpPr txBox="1">
            <a:spLocks/>
          </p:cNvSpPr>
          <p:nvPr/>
        </p:nvSpPr>
        <p:spPr>
          <a:xfrm>
            <a:off x="138290" y="3982186"/>
            <a:ext cx="11879999" cy="23681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400000"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marR="0" lvl="0" indent="-2286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None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1pPr>
            <a:lvl2pPr marL="914400" marR="0" lvl="1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2pPr>
            <a:lvl3pPr marL="1371600" marR="0" lvl="2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-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3pPr>
            <a:lvl4pPr marL="1828800" marR="0" lvl="3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4pPr>
            <a:lvl5pPr marL="2286000" marR="0" lvl="4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Iowan Old Style Roman"/>
              </a:defRPr>
            </a:lvl5pPr>
            <a:lvl6pPr marL="2743200" marR="0" lvl="5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defRPr>
            </a:lvl6pPr>
            <a:lvl7pPr marL="3200400" marR="0" lvl="6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defRPr>
            </a:lvl7pPr>
            <a:lvl8pPr marL="3657600" marR="0" lvl="7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defRPr>
            </a:lvl8pPr>
            <a:lvl9pPr marL="4114800" marR="0" lvl="8" indent="-342900" algn="l" defTabSz="41275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Zapf Dingbats"/>
              <a:buChar char="•"/>
              <a:tabLst/>
              <a:defRPr sz="2250" b="0" i="0" u="none" strike="noStrike" cap="none" spc="0" baseline="0">
                <a:solidFill>
                  <a:srgbClr val="5C5C5C"/>
                </a:solidFill>
                <a:uFillTx/>
                <a:latin typeface="Iowan Old Style Roman"/>
                <a:ea typeface="Iowan Old Style Roman"/>
                <a:cs typeface="Iowan Old Style Roman"/>
                <a:sym typeface="Iowan Old Style Roman"/>
              </a:defRPr>
            </a:lvl9pPr>
          </a:lstStyle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3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id, name, PGP_SYM_DECRYPT(data::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tea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'AES_KEY’) </a:t>
            </a:r>
            <a:r>
              <a:rPr lang="en-GB" sz="13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password </a:t>
            </a:r>
            <a:r>
              <a:rPr lang="en-GB" sz="13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foo;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id | name | password 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----+------+----------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 1 | foo  | bar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ts val="1550"/>
            </a:pPr>
            <a:endParaRPr lang="en-US" sz="1200" kern="0" dirty="0">
              <a:solidFill>
                <a:srgbClr val="FF000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176096356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2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b="1" dirty="0"/>
              <a:t>E</a:t>
            </a:r>
            <a:r>
              <a:rPr lang="en-GB" dirty="0"/>
              <a:t>ncryption  - </a:t>
            </a:r>
            <a:r>
              <a:rPr lang="en-GB" dirty="0" err="1"/>
              <a:t>pg_crypto</a:t>
            </a:r>
            <a:r>
              <a:rPr lang="en-GB" dirty="0"/>
              <a:t> (Password Verification) 2/2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68377D-7210-FB4C-A1CC-7C61573173D1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4907" y="778126"/>
            <a:ext cx="11845925" cy="1933575"/>
          </a:xfr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(id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name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password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ER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O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(1, 'foo', </a:t>
            </a:r>
            <a:r>
              <a:rPr lang="en-GB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yp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'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ypas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',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n_sal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'bf', 8)));</a:t>
            </a:r>
          </a:p>
          <a:p>
            <a:pPr marL="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SELECT * FROM foo;</a:t>
            </a:r>
          </a:p>
          <a:p>
            <a:pPr marL="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d | name |                           password                           </a:t>
            </a:r>
          </a:p>
          <a:p>
            <a:pPr marL="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+------+--------------------------------------------------------------</a:t>
            </a:r>
          </a:p>
          <a:p>
            <a:pPr marL="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1 | foo  | $2a$08$B8SGlp6iGEL/8IqroMJtweZDU6h5kTR2hGNITlzIK.5nMYJ/6SrrG</a:t>
            </a:r>
          </a:p>
          <a:p>
            <a:pPr marL="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  <a:endParaRPr lang="en-PK" sz="1200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971C67B8-D467-6045-B8DC-761748CAE25E}"/>
              </a:ext>
            </a:extLst>
          </p:cNvPr>
          <p:cNvSpPr txBox="1">
            <a:spLocks/>
          </p:cNvSpPr>
          <p:nvPr/>
        </p:nvSpPr>
        <p:spPr>
          <a:xfrm>
            <a:off x="172618" y="2973936"/>
            <a:ext cx="11846763" cy="18202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WHERE password = </a:t>
            </a:r>
            <a:r>
              <a:rPr lang="en-GB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yp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‘tes123', password);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</a:t>
            </a:r>
          </a:p>
          <a:p>
            <a:pPr>
              <a:lnSpc>
                <a:spcPct val="100000"/>
              </a:lnSpc>
            </a:pP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0 row)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5E7CF941-91BB-CD45-BF39-94869B948C32}"/>
              </a:ext>
            </a:extLst>
          </p:cNvPr>
          <p:cNvSpPr txBox="1">
            <a:spLocks/>
          </p:cNvSpPr>
          <p:nvPr/>
        </p:nvSpPr>
        <p:spPr>
          <a:xfrm>
            <a:off x="172618" y="4936472"/>
            <a:ext cx="11846763" cy="14728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WHERE password = </a:t>
            </a:r>
            <a:r>
              <a:rPr lang="en-GB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yp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'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ypas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', password);</a:t>
            </a:r>
          </a:p>
          <a:p>
            <a:pPr>
              <a:lnSpc>
                <a:spcPct val="120000"/>
              </a:lnSpc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</a:p>
          <a:p>
            <a:pPr>
              <a:lnSpc>
                <a:spcPct val="120000"/>
              </a:lnSpc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</a:t>
            </a:r>
          </a:p>
          <a:p>
            <a:pPr>
              <a:lnSpc>
                <a:spcPct val="120000"/>
              </a:lnSpc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foo </a:t>
            </a:r>
          </a:p>
          <a:p>
            <a:pPr>
              <a:lnSpc>
                <a:spcPct val="120000"/>
              </a:lnSpc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  <a:endParaRPr lang="en-PK" sz="1200" dirty="0"/>
          </a:p>
        </p:txBody>
      </p:sp>
      <p:pic>
        <p:nvPicPr>
          <p:cNvPr id="7" name="Graphic 6" descr="Arrow: Straight">
            <a:extLst>
              <a:ext uri="{FF2B5EF4-FFF2-40B4-BE49-F238E27FC236}">
                <a16:creationId xmlns:a16="http://schemas.microsoft.com/office/drawing/2014/main" id="{6C3E43DE-7575-A84F-A185-5781CDCE63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74575" y="1745797"/>
            <a:ext cx="914400" cy="521898"/>
          </a:xfrm>
          <a:prstGeom prst="rect">
            <a:avLst/>
          </a:prstGeom>
        </p:spPr>
      </p:pic>
      <p:pic>
        <p:nvPicPr>
          <p:cNvPr id="8" name="Graphic 7" descr="Arrow: Straight">
            <a:extLst>
              <a:ext uri="{FF2B5EF4-FFF2-40B4-BE49-F238E27FC236}">
                <a16:creationId xmlns:a16="http://schemas.microsoft.com/office/drawing/2014/main" id="{0CFD78CE-ED87-BA46-B857-2F9B8AD525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3266" y="3563137"/>
            <a:ext cx="914400" cy="521898"/>
          </a:xfrm>
          <a:prstGeom prst="rect">
            <a:avLst/>
          </a:prstGeom>
        </p:spPr>
      </p:pic>
      <p:pic>
        <p:nvPicPr>
          <p:cNvPr id="9" name="Graphic 8" descr="Arrow: Straight">
            <a:extLst>
              <a:ext uri="{FF2B5EF4-FFF2-40B4-BE49-F238E27FC236}">
                <a16:creationId xmlns:a16="http://schemas.microsoft.com/office/drawing/2014/main" id="{8DBB1393-5EFC-784E-8683-2ED390323D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8376" y="5672908"/>
            <a:ext cx="914400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57153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2039627-13CC-7841-85C5-90619C18A2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lways use firewall to protect the attack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on’t give access to all, use privet list of IP address to give database access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Never expose your database port 5432 to internet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on’t allow direct login to the database system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ecure your backups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listen_address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= ‘*’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PK" dirty="0"/>
          </a:p>
        </p:txBody>
      </p:sp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sz="3200" dirty="0">
                <a:ea typeface="Arial"/>
                <a:sym typeface="Arial"/>
              </a:rPr>
              <a:t>Security Best Practice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719200070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159165" y="2486850"/>
            <a:ext cx="5147511" cy="897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4800" b="1" dirty="0">
                <a:latin typeface="+mj-lt"/>
                <a:ea typeface="+mj-ea"/>
              </a:rPr>
              <a:t>THANKS</a:t>
            </a:r>
            <a:endParaRPr lang="zh-CN" altLang="en-US" sz="4800" b="1" dirty="0">
              <a:latin typeface="+mj-lt"/>
              <a:ea typeface="+mj-ea"/>
            </a:endParaRPr>
          </a:p>
        </p:txBody>
      </p:sp>
      <p:sp>
        <p:nvSpPr>
          <p:cNvPr id="11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 txBox="1">
            <a:spLocks/>
          </p:cNvSpPr>
          <p:nvPr/>
        </p:nvSpPr>
        <p:spPr>
          <a:xfrm>
            <a:off x="1159167" y="3395386"/>
            <a:ext cx="5147510" cy="8807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mail: </a:t>
            </a:r>
            <a:r>
              <a:rPr lang="en-US" altLang="zh-CN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brar.ahmad@gmail.com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431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750720578"/>
              </p:ext>
            </p:extLst>
          </p:nvPr>
        </p:nvGraphicFramePr>
        <p:xfrm>
          <a:off x="3759896" y="885459"/>
          <a:ext cx="7728267" cy="50873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61664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9401" y="399119"/>
            <a:ext cx="11573197" cy="72424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8134E8C-4303-4D21-9C92-A0DE4760FB14}"/>
              </a:ext>
            </a:extLst>
          </p:cNvPr>
          <p:cNvSpPr txBox="1"/>
          <p:nvPr/>
        </p:nvSpPr>
        <p:spPr>
          <a:xfrm>
            <a:off x="1540052" y="2131802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tabase Security</a:t>
            </a:r>
          </a:p>
        </p:txBody>
      </p:sp>
      <p:sp>
        <p:nvSpPr>
          <p:cNvPr id="60" name="Right Triangle 10">
            <a:extLst>
              <a:ext uri="{FF2B5EF4-FFF2-40B4-BE49-F238E27FC236}">
                <a16:creationId xmlns:a16="http://schemas.microsoft.com/office/drawing/2014/main" id="{4159BB5E-A78C-4113-9B5A-D5116BFF2E8F}"/>
              </a:ext>
            </a:extLst>
          </p:cNvPr>
          <p:cNvSpPr/>
          <p:nvPr/>
        </p:nvSpPr>
        <p:spPr>
          <a:xfrm rot="13436248">
            <a:off x="9596607" y="3091587"/>
            <a:ext cx="1417324" cy="1364036"/>
          </a:xfrm>
          <a:custGeom>
            <a:avLst/>
            <a:gdLst/>
            <a:ahLst/>
            <a:cxnLst/>
            <a:rect l="l" t="t" r="r" b="b"/>
            <a:pathLst>
              <a:path w="1416297" h="1353657">
                <a:moveTo>
                  <a:pt x="1416297" y="338657"/>
                </a:moveTo>
                <a:lnTo>
                  <a:pt x="342330" y="1353657"/>
                </a:lnTo>
                <a:lnTo>
                  <a:pt x="340597" y="1352019"/>
                </a:lnTo>
                <a:lnTo>
                  <a:pt x="1" y="1352019"/>
                </a:lnTo>
                <a:lnTo>
                  <a:pt x="0" y="1030124"/>
                </a:lnTo>
                <a:lnTo>
                  <a:pt x="2" y="1030125"/>
                </a:lnTo>
                <a:lnTo>
                  <a:pt x="108997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2083A12-CB6D-4A58-BC61-259FC3954B17}"/>
              </a:ext>
            </a:extLst>
          </p:cNvPr>
          <p:cNvSpPr/>
          <p:nvPr/>
        </p:nvSpPr>
        <p:spPr>
          <a:xfrm>
            <a:off x="888024" y="3532211"/>
            <a:ext cx="1728000" cy="4706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248A024-9C25-468A-B6D5-51E9688FF80E}"/>
              </a:ext>
            </a:extLst>
          </p:cNvPr>
          <p:cNvSpPr/>
          <p:nvPr/>
        </p:nvSpPr>
        <p:spPr>
          <a:xfrm>
            <a:off x="2627977" y="3532211"/>
            <a:ext cx="1728000" cy="47063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5F551B3-AB5C-4330-A426-EA084A481E45}"/>
              </a:ext>
            </a:extLst>
          </p:cNvPr>
          <p:cNvSpPr/>
          <p:nvPr/>
        </p:nvSpPr>
        <p:spPr>
          <a:xfrm>
            <a:off x="4359138" y="3532211"/>
            <a:ext cx="1728000" cy="470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ABB919A-0A61-45AD-90BB-9C38B83844DE}"/>
              </a:ext>
            </a:extLst>
          </p:cNvPr>
          <p:cNvSpPr/>
          <p:nvPr/>
        </p:nvSpPr>
        <p:spPr>
          <a:xfrm>
            <a:off x="6091032" y="3532211"/>
            <a:ext cx="1728000" cy="4706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1A3AA89-9F6F-499A-B5E2-56B22A978194}"/>
              </a:ext>
            </a:extLst>
          </p:cNvPr>
          <p:cNvSpPr/>
          <p:nvPr/>
        </p:nvSpPr>
        <p:spPr>
          <a:xfrm>
            <a:off x="7822926" y="3532211"/>
            <a:ext cx="1728000" cy="4706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938F2D-07A2-4C90-9211-1E2FDBEB7621}"/>
              </a:ext>
            </a:extLst>
          </p:cNvPr>
          <p:cNvSpPr txBox="1"/>
          <p:nvPr/>
        </p:nvSpPr>
        <p:spPr>
          <a:xfrm>
            <a:off x="1043796" y="3585440"/>
            <a:ext cx="1328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3E1BE36-1AE4-4EDA-8A43-B80699E94800}"/>
              </a:ext>
            </a:extLst>
          </p:cNvPr>
          <p:cNvSpPr txBox="1"/>
          <p:nvPr/>
        </p:nvSpPr>
        <p:spPr>
          <a:xfrm>
            <a:off x="2911531" y="3585440"/>
            <a:ext cx="1297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3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1555AEC-7171-4A7B-9A52-68A082D9842B}"/>
              </a:ext>
            </a:extLst>
          </p:cNvPr>
          <p:cNvSpPr txBox="1"/>
          <p:nvPr/>
        </p:nvSpPr>
        <p:spPr>
          <a:xfrm>
            <a:off x="4638661" y="3585440"/>
            <a:ext cx="130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1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87B7808-FD4F-40D8-9A92-A6EA5D2EBF64}"/>
              </a:ext>
            </a:extLst>
          </p:cNvPr>
          <p:cNvSpPr txBox="1"/>
          <p:nvPr/>
        </p:nvSpPr>
        <p:spPr>
          <a:xfrm>
            <a:off x="6237437" y="3585440"/>
            <a:ext cx="1316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770C5F3-ACEA-4153-BEB5-2DC037D10E03}"/>
              </a:ext>
            </a:extLst>
          </p:cNvPr>
          <p:cNvSpPr txBox="1"/>
          <p:nvPr/>
        </p:nvSpPr>
        <p:spPr>
          <a:xfrm>
            <a:off x="8092926" y="3585440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EB322B7-CA7D-44BD-8873-95DC32A81AB4}"/>
              </a:ext>
            </a:extLst>
          </p:cNvPr>
          <p:cNvSpPr txBox="1"/>
          <p:nvPr/>
        </p:nvSpPr>
        <p:spPr>
          <a:xfrm>
            <a:off x="9701225" y="3585440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13CB475A-3318-46B8-8071-BC6C45C6B38F}"/>
              </a:ext>
            </a:extLst>
          </p:cNvPr>
          <p:cNvSpPr/>
          <p:nvPr/>
        </p:nvSpPr>
        <p:spPr>
          <a:xfrm>
            <a:off x="1672509" y="3321159"/>
            <a:ext cx="180000" cy="21600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3B98A398-D5F0-48ED-B381-5741B8FE328B}"/>
              </a:ext>
            </a:extLst>
          </p:cNvPr>
          <p:cNvSpPr/>
          <p:nvPr/>
        </p:nvSpPr>
        <p:spPr>
          <a:xfrm>
            <a:off x="5133138" y="3321159"/>
            <a:ext cx="180000" cy="2160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CC1C4E75-1493-431C-AD3F-2F5E227FD8F0}"/>
              </a:ext>
            </a:extLst>
          </p:cNvPr>
          <p:cNvSpPr/>
          <p:nvPr/>
        </p:nvSpPr>
        <p:spPr>
          <a:xfrm>
            <a:off x="8596926" y="3321159"/>
            <a:ext cx="180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1A5B92C0-C9D4-4D69-9E80-0D6BFB2FFE8A}"/>
              </a:ext>
            </a:extLst>
          </p:cNvPr>
          <p:cNvSpPr/>
          <p:nvPr/>
        </p:nvSpPr>
        <p:spPr>
          <a:xfrm rot="10800000">
            <a:off x="3401978" y="4000059"/>
            <a:ext cx="180000" cy="216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545B327E-0AF0-4599-92D9-2826FD1A64FE}"/>
              </a:ext>
            </a:extLst>
          </p:cNvPr>
          <p:cNvSpPr/>
          <p:nvPr/>
        </p:nvSpPr>
        <p:spPr>
          <a:xfrm rot="10800000">
            <a:off x="6865033" y="4000059"/>
            <a:ext cx="180000" cy="216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FF632457-BFA9-4335-881A-1AB0F53195FB}"/>
              </a:ext>
            </a:extLst>
          </p:cNvPr>
          <p:cNvSpPr/>
          <p:nvPr/>
        </p:nvSpPr>
        <p:spPr>
          <a:xfrm rot="10800000">
            <a:off x="10249051" y="4000059"/>
            <a:ext cx="180000" cy="2160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13696AB-3E2F-41EF-A4D9-FBF038544D83}"/>
              </a:ext>
            </a:extLst>
          </p:cNvPr>
          <p:cNvSpPr txBox="1"/>
          <p:nvPr/>
        </p:nvSpPr>
        <p:spPr>
          <a:xfrm>
            <a:off x="5210954" y="2024208"/>
            <a:ext cx="2596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200" dirty="0">
                <a:solidFill>
                  <a:srgbClr val="5C5C5C">
                    <a:hueOff val="0"/>
                    <a:satOff val="0"/>
                    <a:lumOff val="0"/>
                    <a:alphaOff val="0"/>
                  </a:srgbClr>
                </a:solidFill>
                <a:latin typeface="Arial" panose="020B0604020202020204" pitchFamily="34" charset="0"/>
                <a:ea typeface="DIN Condensed Bold"/>
                <a:cs typeface="Arial" panose="020B0604020202020204" pitchFamily="34" charset="0"/>
              </a:rPr>
              <a:t>Encryption</a:t>
            </a:r>
            <a:endParaRPr lang="en-GB" sz="1200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3FA756-5613-41B0-AA38-DE134BC1B842}"/>
              </a:ext>
            </a:extLst>
          </p:cNvPr>
          <p:cNvSpPr txBox="1"/>
          <p:nvPr/>
        </p:nvSpPr>
        <p:spPr>
          <a:xfrm>
            <a:off x="9049474" y="2008391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Tip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5871F69-04FB-4C17-A763-E5E9DF0FE4CC}"/>
              </a:ext>
            </a:extLst>
          </p:cNvPr>
          <p:cNvSpPr txBox="1"/>
          <p:nvPr/>
        </p:nvSpPr>
        <p:spPr>
          <a:xfrm>
            <a:off x="1852509" y="4740260"/>
            <a:ext cx="11293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cs typeface="Arial" pitchFamily="34" charset="0"/>
              </a:rPr>
              <a:t>AAA</a:t>
            </a:r>
            <a:endParaRPr lang="ko-KR" altLang="en-US" sz="1200" b="1" dirty="0"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7F85627-00CD-4460-8083-8B28310BD69A}"/>
              </a:ext>
            </a:extLst>
          </p:cNvPr>
          <p:cNvSpPr txBox="1"/>
          <p:nvPr/>
        </p:nvSpPr>
        <p:spPr>
          <a:xfrm>
            <a:off x="4951178" y="4859835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ecurity Best Practices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69FDB80-6030-4501-82B2-2E214F8F104C}"/>
              </a:ext>
            </a:extLst>
          </p:cNvPr>
          <p:cNvSpPr txBox="1"/>
          <p:nvPr/>
        </p:nvSpPr>
        <p:spPr>
          <a:xfrm>
            <a:off x="8034888" y="4865469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Question Answer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100" name="Rounded Rectangle 5">
            <a:extLst>
              <a:ext uri="{FF2B5EF4-FFF2-40B4-BE49-F238E27FC236}">
                <a16:creationId xmlns:a16="http://schemas.microsoft.com/office/drawing/2014/main" id="{75150AF0-7ED2-428B-982E-9DCAE824BDB0}"/>
              </a:ext>
            </a:extLst>
          </p:cNvPr>
          <p:cNvSpPr/>
          <p:nvPr/>
        </p:nvSpPr>
        <p:spPr>
          <a:xfrm flipH="1">
            <a:off x="4601005" y="1975682"/>
            <a:ext cx="476328" cy="392942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770673-A690-054A-B423-6761785199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947272" y="4779032"/>
            <a:ext cx="456185" cy="47063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Picture 6" descr="A picture containing light, food&#10;&#10;Description automatically generated">
            <a:extLst>
              <a:ext uri="{FF2B5EF4-FFF2-40B4-BE49-F238E27FC236}">
                <a16:creationId xmlns:a16="http://schemas.microsoft.com/office/drawing/2014/main" id="{59CD2BE4-90B8-2543-B5B4-1CE05597C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668626" y="4670775"/>
            <a:ext cx="452887" cy="543464"/>
          </a:xfrm>
          <a:prstGeom prst="rect">
            <a:avLst/>
          </a:prstGeom>
        </p:spPr>
      </p:pic>
      <p:pic>
        <p:nvPicPr>
          <p:cNvPr id="13" name="Graphic 12" descr="Questions">
            <a:extLst>
              <a:ext uri="{FF2B5EF4-FFF2-40B4-BE49-F238E27FC236}">
                <a16:creationId xmlns:a16="http://schemas.microsoft.com/office/drawing/2014/main" id="{6BB836F1-52BE-F74A-879E-1A0B9340D2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48069" y="4681274"/>
            <a:ext cx="638632" cy="638632"/>
          </a:xfrm>
          <a:prstGeom prst="rect">
            <a:avLst/>
          </a:prstGeom>
        </p:spPr>
      </p:pic>
      <p:pic>
        <p:nvPicPr>
          <p:cNvPr id="15" name="Picture 14" descr="A picture containing food, plate, game&#10;&#10;Description automatically generated">
            <a:extLst>
              <a:ext uri="{FF2B5EF4-FFF2-40B4-BE49-F238E27FC236}">
                <a16:creationId xmlns:a16="http://schemas.microsoft.com/office/drawing/2014/main" id="{7F74FFCD-B053-3544-9BF7-5C8226480C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8335408" y="1837646"/>
            <a:ext cx="715371" cy="508957"/>
          </a:xfrm>
          <a:prstGeom prst="rect">
            <a:avLst/>
          </a:prstGeom>
        </p:spPr>
      </p:pic>
      <p:pic>
        <p:nvPicPr>
          <p:cNvPr id="6" name="Graphic 5" descr="Database">
            <a:extLst>
              <a:ext uri="{FF2B5EF4-FFF2-40B4-BE49-F238E27FC236}">
                <a16:creationId xmlns:a16="http://schemas.microsoft.com/office/drawing/2014/main" id="{857D67B4-21A4-334F-9118-657853E406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8262" y="1754613"/>
            <a:ext cx="724247" cy="724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614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</a:rPr>
              <a:t>Database Security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4B1C653-5A36-4E77-9ED7-E44AB68645D3}"/>
              </a:ext>
            </a:extLst>
          </p:cNvPr>
          <p:cNvGrpSpPr/>
          <p:nvPr/>
        </p:nvGrpSpPr>
        <p:grpSpPr>
          <a:xfrm>
            <a:off x="4703100" y="2548378"/>
            <a:ext cx="2931576" cy="2442382"/>
            <a:chOff x="3690367" y="1823747"/>
            <a:chExt cx="5020109" cy="4182400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D7BAB1F-9B0A-438A-AAA5-3B3C536A9A12}"/>
                </a:ext>
              </a:extLst>
            </p:cNvPr>
            <p:cNvSpPr/>
            <p:nvPr/>
          </p:nvSpPr>
          <p:spPr>
            <a:xfrm>
              <a:off x="6083223" y="1823747"/>
              <a:ext cx="2627253" cy="4182400"/>
            </a:xfrm>
            <a:custGeom>
              <a:avLst/>
              <a:gdLst>
                <a:gd name="connsiteX0" fmla="*/ 1127628 w 1136356"/>
                <a:gd name="connsiteY0" fmla="*/ 671962 h 1808998"/>
                <a:gd name="connsiteX1" fmla="*/ 1015351 w 1136356"/>
                <a:gd name="connsiteY1" fmla="*/ 617607 h 1808998"/>
                <a:gd name="connsiteX2" fmla="*/ 995308 w 1136356"/>
                <a:gd name="connsiteY2" fmla="*/ 623383 h 1808998"/>
                <a:gd name="connsiteX3" fmla="*/ 953862 w 1136356"/>
                <a:gd name="connsiteY3" fmla="*/ 695573 h 1808998"/>
                <a:gd name="connsiteX4" fmla="*/ 846341 w 1136356"/>
                <a:gd name="connsiteY4" fmla="*/ 882418 h 1808998"/>
                <a:gd name="connsiteX5" fmla="*/ 833093 w 1136356"/>
                <a:gd name="connsiteY5" fmla="*/ 885305 h 1808998"/>
                <a:gd name="connsiteX6" fmla="*/ 778228 w 1136356"/>
                <a:gd name="connsiteY6" fmla="*/ 844029 h 1808998"/>
                <a:gd name="connsiteX7" fmla="*/ 725062 w 1136356"/>
                <a:gd name="connsiteY7" fmla="*/ 830441 h 1808998"/>
                <a:gd name="connsiteX8" fmla="*/ 715041 w 1136356"/>
                <a:gd name="connsiteY8" fmla="*/ 830271 h 1808998"/>
                <a:gd name="connsiteX9" fmla="*/ 698564 w 1136356"/>
                <a:gd name="connsiteY9" fmla="*/ 831120 h 1808998"/>
                <a:gd name="connsiteX10" fmla="*/ 680559 w 1136356"/>
                <a:gd name="connsiteY10" fmla="*/ 834687 h 1808998"/>
                <a:gd name="connsiteX11" fmla="*/ 614654 w 1136356"/>
                <a:gd name="connsiteY11" fmla="*/ 823137 h 1808998"/>
                <a:gd name="connsiteX12" fmla="*/ 606671 w 1136356"/>
                <a:gd name="connsiteY12" fmla="*/ 818551 h 1808998"/>
                <a:gd name="connsiteX13" fmla="*/ 584929 w 1136356"/>
                <a:gd name="connsiteY13" fmla="*/ 808189 h 1808998"/>
                <a:gd name="connsiteX14" fmla="*/ 552146 w 1136356"/>
                <a:gd name="connsiteY14" fmla="*/ 796639 h 1808998"/>
                <a:gd name="connsiteX15" fmla="*/ 545351 w 1136356"/>
                <a:gd name="connsiteY15" fmla="*/ 790524 h 1808998"/>
                <a:gd name="connsiteX16" fmla="*/ 499490 w 1136356"/>
                <a:gd name="connsiteY16" fmla="*/ 772689 h 1808998"/>
                <a:gd name="connsiteX17" fmla="*/ 475709 w 1136356"/>
                <a:gd name="connsiteY17" fmla="*/ 765555 h 1808998"/>
                <a:gd name="connsiteX18" fmla="*/ 449381 w 1136356"/>
                <a:gd name="connsiteY18" fmla="*/ 751796 h 1808998"/>
                <a:gd name="connsiteX19" fmla="*/ 440209 w 1136356"/>
                <a:gd name="connsiteY19" fmla="*/ 741944 h 1808998"/>
                <a:gd name="connsiteX20" fmla="*/ 428319 w 1136356"/>
                <a:gd name="connsiteY20" fmla="*/ 728865 h 1808998"/>
                <a:gd name="connsiteX21" fmla="*/ 418127 w 1136356"/>
                <a:gd name="connsiteY21" fmla="*/ 727846 h 1808998"/>
                <a:gd name="connsiteX22" fmla="*/ 406916 w 1136356"/>
                <a:gd name="connsiteY22" fmla="*/ 710520 h 1808998"/>
                <a:gd name="connsiteX23" fmla="*/ 413541 w 1136356"/>
                <a:gd name="connsiteY23" fmla="*/ 692175 h 1808998"/>
                <a:gd name="connsiteX24" fmla="*/ 421354 w 1136356"/>
                <a:gd name="connsiteY24" fmla="*/ 662620 h 1808998"/>
                <a:gd name="connsiteX25" fmla="*/ 419656 w 1136356"/>
                <a:gd name="connsiteY25" fmla="*/ 616928 h 1808998"/>
                <a:gd name="connsiteX26" fmla="*/ 403349 w 1136356"/>
                <a:gd name="connsiteY26" fmla="*/ 577011 h 1808998"/>
                <a:gd name="connsiteX27" fmla="*/ 389081 w 1136356"/>
                <a:gd name="connsiteY27" fmla="*/ 534376 h 1808998"/>
                <a:gd name="connsiteX28" fmla="*/ 367849 w 1136356"/>
                <a:gd name="connsiteY28" fmla="*/ 467452 h 1808998"/>
                <a:gd name="connsiteX29" fmla="*/ 373794 w 1136356"/>
                <a:gd name="connsiteY29" fmla="*/ 432631 h 1808998"/>
                <a:gd name="connsiteX30" fmla="*/ 376681 w 1136356"/>
                <a:gd name="connsiteY30" fmla="*/ 426516 h 1808998"/>
                <a:gd name="connsiteX31" fmla="*/ 372265 w 1136356"/>
                <a:gd name="connsiteY31" fmla="*/ 406812 h 1808998"/>
                <a:gd name="connsiteX32" fmla="*/ 350693 w 1136356"/>
                <a:gd name="connsiteY32" fmla="*/ 385240 h 1808998"/>
                <a:gd name="connsiteX33" fmla="*/ 351542 w 1136356"/>
                <a:gd name="connsiteY33" fmla="*/ 370123 h 1808998"/>
                <a:gd name="connsiteX34" fmla="*/ 370736 w 1136356"/>
                <a:gd name="connsiteY34" fmla="*/ 368764 h 1808998"/>
                <a:gd name="connsiteX35" fmla="*/ 400292 w 1136356"/>
                <a:gd name="connsiteY35" fmla="*/ 383542 h 1808998"/>
                <a:gd name="connsiteX36" fmla="*/ 430697 w 1136356"/>
                <a:gd name="connsiteY36" fmla="*/ 370972 h 1808998"/>
                <a:gd name="connsiteX37" fmla="*/ 444795 w 1136356"/>
                <a:gd name="connsiteY37" fmla="*/ 357383 h 1808998"/>
                <a:gd name="connsiteX38" fmla="*/ 468915 w 1136356"/>
                <a:gd name="connsiteY38" fmla="*/ 338529 h 1808998"/>
                <a:gd name="connsiteX39" fmla="*/ 470444 w 1136356"/>
                <a:gd name="connsiteY39" fmla="*/ 334622 h 1808998"/>
                <a:gd name="connsiteX40" fmla="*/ 485901 w 1136356"/>
                <a:gd name="connsiteY40" fmla="*/ 322732 h 1808998"/>
                <a:gd name="connsiteX41" fmla="*/ 506114 w 1136356"/>
                <a:gd name="connsiteY41" fmla="*/ 302689 h 1808998"/>
                <a:gd name="connsiteX42" fmla="*/ 503566 w 1136356"/>
                <a:gd name="connsiteY42" fmla="*/ 264640 h 1808998"/>
                <a:gd name="connsiteX43" fmla="*/ 510700 w 1136356"/>
                <a:gd name="connsiteY43" fmla="*/ 231518 h 1808998"/>
                <a:gd name="connsiteX44" fmla="*/ 514607 w 1136356"/>
                <a:gd name="connsiteY44" fmla="*/ 220477 h 1808998"/>
                <a:gd name="connsiteX45" fmla="*/ 518344 w 1136356"/>
                <a:gd name="connsiteY45" fmla="*/ 188543 h 1808998"/>
                <a:gd name="connsiteX46" fmla="*/ 532782 w 1136356"/>
                <a:gd name="connsiteY46" fmla="*/ 141153 h 1808998"/>
                <a:gd name="connsiteX47" fmla="*/ 534480 w 1136356"/>
                <a:gd name="connsiteY47" fmla="*/ 131301 h 1808998"/>
                <a:gd name="connsiteX48" fmla="*/ 527686 w 1136356"/>
                <a:gd name="connsiteY48" fmla="*/ 107860 h 1808998"/>
                <a:gd name="connsiteX49" fmla="*/ 498980 w 1136356"/>
                <a:gd name="connsiteY49" fmla="*/ 61829 h 1808998"/>
                <a:gd name="connsiteX50" fmla="*/ 496772 w 1136356"/>
                <a:gd name="connsiteY50" fmla="*/ 59281 h 1808998"/>
                <a:gd name="connsiteX51" fmla="*/ 471293 w 1136356"/>
                <a:gd name="connsiteY51" fmla="*/ 38728 h 1808998"/>
                <a:gd name="connsiteX52" fmla="*/ 445644 w 1136356"/>
                <a:gd name="connsiteY52" fmla="*/ 18345 h 1808998"/>
                <a:gd name="connsiteX53" fmla="*/ 423223 w 1136356"/>
                <a:gd name="connsiteY53" fmla="*/ 5945 h 1808998"/>
                <a:gd name="connsiteX54" fmla="*/ 381777 w 1136356"/>
                <a:gd name="connsiteY54" fmla="*/ 0 h 1808998"/>
                <a:gd name="connsiteX55" fmla="*/ 373284 w 1136356"/>
                <a:gd name="connsiteY55" fmla="*/ 0 h 1808998"/>
                <a:gd name="connsiteX56" fmla="*/ 344918 w 1136356"/>
                <a:gd name="connsiteY56" fmla="*/ 9852 h 1808998"/>
                <a:gd name="connsiteX57" fmla="*/ 300075 w 1136356"/>
                <a:gd name="connsiteY57" fmla="*/ 35161 h 1808998"/>
                <a:gd name="connsiteX58" fmla="*/ 273407 w 1136356"/>
                <a:gd name="connsiteY58" fmla="*/ 71001 h 1808998"/>
                <a:gd name="connsiteX59" fmla="*/ 251156 w 1136356"/>
                <a:gd name="connsiteY59" fmla="*/ 134358 h 1808998"/>
                <a:gd name="connsiteX60" fmla="*/ 243172 w 1136356"/>
                <a:gd name="connsiteY60" fmla="*/ 183618 h 1808998"/>
                <a:gd name="connsiteX61" fmla="*/ 237907 w 1136356"/>
                <a:gd name="connsiteY61" fmla="*/ 235594 h 1808998"/>
                <a:gd name="connsiteX62" fmla="*/ 227375 w 1136356"/>
                <a:gd name="connsiteY62" fmla="*/ 272794 h 1808998"/>
                <a:gd name="connsiteX63" fmla="*/ 214636 w 1136356"/>
                <a:gd name="connsiteY63" fmla="*/ 276530 h 1808998"/>
                <a:gd name="connsiteX64" fmla="*/ 194423 w 1136356"/>
                <a:gd name="connsiteY64" fmla="*/ 286382 h 1808998"/>
                <a:gd name="connsiteX65" fmla="*/ 167925 w 1136356"/>
                <a:gd name="connsiteY65" fmla="*/ 335641 h 1808998"/>
                <a:gd name="connsiteX66" fmla="*/ 153317 w 1136356"/>
                <a:gd name="connsiteY66" fmla="*/ 353307 h 1808998"/>
                <a:gd name="connsiteX67" fmla="*/ 115948 w 1136356"/>
                <a:gd name="connsiteY67" fmla="*/ 403585 h 1808998"/>
                <a:gd name="connsiteX68" fmla="*/ 59045 w 1136356"/>
                <a:gd name="connsiteY68" fmla="*/ 481550 h 1808998"/>
                <a:gd name="connsiteX69" fmla="*/ 49193 w 1136356"/>
                <a:gd name="connsiteY69" fmla="*/ 495139 h 1808998"/>
                <a:gd name="connsiteX70" fmla="*/ 29320 w 1136356"/>
                <a:gd name="connsiteY70" fmla="*/ 577181 h 1808998"/>
                <a:gd name="connsiteX71" fmla="*/ 29320 w 1136356"/>
                <a:gd name="connsiteY71" fmla="*/ 660752 h 1808998"/>
                <a:gd name="connsiteX72" fmla="*/ 25753 w 1136356"/>
                <a:gd name="connsiteY72" fmla="*/ 670264 h 1808998"/>
                <a:gd name="connsiteX73" fmla="*/ 614 w 1136356"/>
                <a:gd name="connsiteY73" fmla="*/ 734131 h 1808998"/>
                <a:gd name="connsiteX74" fmla="*/ 17600 w 1136356"/>
                <a:gd name="connsiteY74" fmla="*/ 818041 h 1808998"/>
                <a:gd name="connsiteX75" fmla="*/ 34416 w 1136356"/>
                <a:gd name="connsiteY75" fmla="*/ 881059 h 1808998"/>
                <a:gd name="connsiteX76" fmla="*/ 53949 w 1136356"/>
                <a:gd name="connsiteY76" fmla="*/ 945435 h 1808998"/>
                <a:gd name="connsiteX77" fmla="*/ 61763 w 1136356"/>
                <a:gd name="connsiteY77" fmla="*/ 982295 h 1808998"/>
                <a:gd name="connsiteX78" fmla="*/ 59894 w 1136356"/>
                <a:gd name="connsiteY78" fmla="*/ 1014398 h 1808998"/>
                <a:gd name="connsiteX79" fmla="*/ 54289 w 1136356"/>
                <a:gd name="connsiteY79" fmla="*/ 1099837 h 1808998"/>
                <a:gd name="connsiteX80" fmla="*/ 79768 w 1136356"/>
                <a:gd name="connsiteY80" fmla="*/ 1170498 h 1808998"/>
                <a:gd name="connsiteX81" fmla="*/ 97943 w 1136356"/>
                <a:gd name="connsiteY81" fmla="*/ 1188673 h 1808998"/>
                <a:gd name="connsiteX82" fmla="*/ 115269 w 1136356"/>
                <a:gd name="connsiteY82" fmla="*/ 1200903 h 1808998"/>
                <a:gd name="connsiteX83" fmla="*/ 140408 w 1136356"/>
                <a:gd name="connsiteY83" fmla="*/ 1210755 h 1808998"/>
                <a:gd name="connsiteX84" fmla="*/ 196801 w 1136356"/>
                <a:gd name="connsiteY84" fmla="*/ 1222985 h 1808998"/>
                <a:gd name="connsiteX85" fmla="*/ 239945 w 1136356"/>
                <a:gd name="connsiteY85" fmla="*/ 1225872 h 1808998"/>
                <a:gd name="connsiteX86" fmla="*/ 259649 w 1136356"/>
                <a:gd name="connsiteY86" fmla="*/ 1242349 h 1808998"/>
                <a:gd name="connsiteX87" fmla="*/ 270690 w 1136356"/>
                <a:gd name="connsiteY87" fmla="*/ 1256787 h 1808998"/>
                <a:gd name="connsiteX88" fmla="*/ 304661 w 1136356"/>
                <a:gd name="connsiteY88" fmla="*/ 1252031 h 1808998"/>
                <a:gd name="connsiteX89" fmla="*/ 314004 w 1136356"/>
                <a:gd name="connsiteY89" fmla="*/ 1237253 h 1808998"/>
                <a:gd name="connsiteX90" fmla="*/ 327762 w 1136356"/>
                <a:gd name="connsiteY90" fmla="*/ 1223494 h 1808998"/>
                <a:gd name="connsiteX91" fmla="*/ 337954 w 1136356"/>
                <a:gd name="connsiteY91" fmla="*/ 1224174 h 1808998"/>
                <a:gd name="connsiteX92" fmla="*/ 344578 w 1136356"/>
                <a:gd name="connsiteY92" fmla="*/ 1229779 h 1808998"/>
                <a:gd name="connsiteX93" fmla="*/ 359016 w 1136356"/>
                <a:gd name="connsiteY93" fmla="*/ 1241500 h 1808998"/>
                <a:gd name="connsiteX94" fmla="*/ 365811 w 1136356"/>
                <a:gd name="connsiteY94" fmla="*/ 1251861 h 1808998"/>
                <a:gd name="connsiteX95" fmla="*/ 353241 w 1136356"/>
                <a:gd name="connsiteY95" fmla="*/ 1261543 h 1808998"/>
                <a:gd name="connsiteX96" fmla="*/ 347636 w 1136356"/>
                <a:gd name="connsiteY96" fmla="*/ 1266639 h 1808998"/>
                <a:gd name="connsiteX97" fmla="*/ 348315 w 1136356"/>
                <a:gd name="connsiteY97" fmla="*/ 1298742 h 1808998"/>
                <a:gd name="connsiteX98" fmla="*/ 348994 w 1136356"/>
                <a:gd name="connsiteY98" fmla="*/ 1315558 h 1808998"/>
                <a:gd name="connsiteX99" fmla="*/ 349504 w 1136356"/>
                <a:gd name="connsiteY99" fmla="*/ 1334582 h 1808998"/>
                <a:gd name="connsiteX100" fmla="*/ 348994 w 1136356"/>
                <a:gd name="connsiteY100" fmla="*/ 1367365 h 1808998"/>
                <a:gd name="connsiteX101" fmla="*/ 349164 w 1136356"/>
                <a:gd name="connsiteY101" fmla="*/ 1383502 h 1808998"/>
                <a:gd name="connsiteX102" fmla="*/ 347975 w 1136356"/>
                <a:gd name="connsiteY102" fmla="*/ 1410679 h 1808998"/>
                <a:gd name="connsiteX103" fmla="*/ 349164 w 1136356"/>
                <a:gd name="connsiteY103" fmla="*/ 1443802 h 1808998"/>
                <a:gd name="connsiteX104" fmla="*/ 346616 w 1136356"/>
                <a:gd name="connsiteY104" fmla="*/ 1497137 h 1808998"/>
                <a:gd name="connsiteX105" fmla="*/ 336255 w 1136356"/>
                <a:gd name="connsiteY105" fmla="*/ 1503932 h 1808998"/>
                <a:gd name="connsiteX106" fmla="*/ 292431 w 1136356"/>
                <a:gd name="connsiteY106" fmla="*/ 1486096 h 1808998"/>
                <a:gd name="connsiteX107" fmla="*/ 216335 w 1136356"/>
                <a:gd name="connsiteY107" fmla="*/ 1454842 h 1808998"/>
                <a:gd name="connsiteX108" fmla="*/ 193743 w 1136356"/>
                <a:gd name="connsiteY108" fmla="*/ 1467922 h 1808998"/>
                <a:gd name="connsiteX109" fmla="*/ 201387 w 1136356"/>
                <a:gd name="connsiteY109" fmla="*/ 1533147 h 1808998"/>
                <a:gd name="connsiteX110" fmla="*/ 203086 w 1136356"/>
                <a:gd name="connsiteY110" fmla="*/ 1537903 h 1808998"/>
                <a:gd name="connsiteX111" fmla="*/ 208012 w 1136356"/>
                <a:gd name="connsiteY111" fmla="*/ 1545037 h 1808998"/>
                <a:gd name="connsiteX112" fmla="*/ 212598 w 1136356"/>
                <a:gd name="connsiteY112" fmla="*/ 1556078 h 1808998"/>
                <a:gd name="connsiteX113" fmla="*/ 205124 w 1136356"/>
                <a:gd name="connsiteY113" fmla="*/ 1561854 h 1808998"/>
                <a:gd name="connsiteX114" fmla="*/ 138369 w 1136356"/>
                <a:gd name="connsiteY114" fmla="*/ 1577650 h 1808998"/>
                <a:gd name="connsiteX115" fmla="*/ 73653 w 1136356"/>
                <a:gd name="connsiteY115" fmla="*/ 1591579 h 1808998"/>
                <a:gd name="connsiteX116" fmla="*/ 54119 w 1136356"/>
                <a:gd name="connsiteY116" fmla="*/ 1608055 h 1808998"/>
                <a:gd name="connsiteX117" fmla="*/ 66009 w 1136356"/>
                <a:gd name="connsiteY117" fmla="*/ 1685001 h 1808998"/>
                <a:gd name="connsiteX118" fmla="*/ 81467 w 1136356"/>
                <a:gd name="connsiteY118" fmla="*/ 1699949 h 1808998"/>
                <a:gd name="connsiteX119" fmla="*/ 115608 w 1136356"/>
                <a:gd name="connsiteY119" fmla="*/ 1695193 h 1808998"/>
                <a:gd name="connsiteX120" fmla="*/ 134123 w 1136356"/>
                <a:gd name="connsiteY120" fmla="*/ 1651199 h 1808998"/>
                <a:gd name="connsiteX121" fmla="*/ 131235 w 1136356"/>
                <a:gd name="connsiteY121" fmla="*/ 1640668 h 1808998"/>
                <a:gd name="connsiteX122" fmla="*/ 137860 w 1136356"/>
                <a:gd name="connsiteY122" fmla="*/ 1626400 h 1808998"/>
                <a:gd name="connsiteX123" fmla="*/ 239775 w 1136356"/>
                <a:gd name="connsiteY123" fmla="*/ 1615529 h 1808998"/>
                <a:gd name="connsiteX124" fmla="*/ 245550 w 1136356"/>
                <a:gd name="connsiteY124" fmla="*/ 1614680 h 1808998"/>
                <a:gd name="connsiteX125" fmla="*/ 265933 w 1136356"/>
                <a:gd name="connsiteY125" fmla="*/ 1608395 h 1808998"/>
                <a:gd name="connsiteX126" fmla="*/ 316042 w 1136356"/>
                <a:gd name="connsiteY126" fmla="*/ 1599902 h 1808998"/>
                <a:gd name="connsiteX127" fmla="*/ 348994 w 1136356"/>
                <a:gd name="connsiteY127" fmla="*/ 1599053 h 1808998"/>
                <a:gd name="connsiteX128" fmla="*/ 364112 w 1136356"/>
                <a:gd name="connsiteY128" fmla="*/ 1612132 h 1808998"/>
                <a:gd name="connsiteX129" fmla="*/ 368528 w 1136356"/>
                <a:gd name="connsiteY129" fmla="*/ 1668015 h 1808998"/>
                <a:gd name="connsiteX130" fmla="*/ 353750 w 1136356"/>
                <a:gd name="connsiteY130" fmla="*/ 1679906 h 1808998"/>
                <a:gd name="connsiteX131" fmla="*/ 345427 w 1136356"/>
                <a:gd name="connsiteY131" fmla="*/ 1685171 h 1808998"/>
                <a:gd name="connsiteX132" fmla="*/ 344578 w 1136356"/>
                <a:gd name="connsiteY132" fmla="*/ 1694513 h 1808998"/>
                <a:gd name="connsiteX133" fmla="*/ 361394 w 1136356"/>
                <a:gd name="connsiteY133" fmla="*/ 1786067 h 1808998"/>
                <a:gd name="connsiteX134" fmla="*/ 372435 w 1136356"/>
                <a:gd name="connsiteY134" fmla="*/ 1798297 h 1808998"/>
                <a:gd name="connsiteX135" fmla="*/ 419995 w 1136356"/>
                <a:gd name="connsiteY135" fmla="*/ 1808998 h 1808998"/>
                <a:gd name="connsiteX136" fmla="*/ 435453 w 1136356"/>
                <a:gd name="connsiteY136" fmla="*/ 1803223 h 1808998"/>
                <a:gd name="connsiteX137" fmla="*/ 456006 w 1136356"/>
                <a:gd name="connsiteY137" fmla="*/ 1753624 h 1808998"/>
                <a:gd name="connsiteX138" fmla="*/ 441568 w 1136356"/>
                <a:gd name="connsiteY138" fmla="*/ 1732562 h 1808998"/>
                <a:gd name="connsiteX139" fmla="*/ 432056 w 1136356"/>
                <a:gd name="connsiteY139" fmla="*/ 1729165 h 1808998"/>
                <a:gd name="connsiteX140" fmla="*/ 417108 w 1136356"/>
                <a:gd name="connsiteY140" fmla="*/ 1711499 h 1808998"/>
                <a:gd name="connsiteX141" fmla="*/ 410653 w 1136356"/>
                <a:gd name="connsiteY141" fmla="*/ 1615869 h 1808998"/>
                <a:gd name="connsiteX142" fmla="*/ 425771 w 1136356"/>
                <a:gd name="connsiteY142" fmla="*/ 1597694 h 1808998"/>
                <a:gd name="connsiteX143" fmla="*/ 475709 w 1136356"/>
                <a:gd name="connsiteY143" fmla="*/ 1599053 h 1808998"/>
                <a:gd name="connsiteX144" fmla="*/ 555713 w 1136356"/>
                <a:gd name="connsiteY144" fmla="*/ 1608395 h 1808998"/>
                <a:gd name="connsiteX145" fmla="*/ 662894 w 1136356"/>
                <a:gd name="connsiteY145" fmla="*/ 1618926 h 1808998"/>
                <a:gd name="connsiteX146" fmla="*/ 671726 w 1136356"/>
                <a:gd name="connsiteY146" fmla="*/ 1630477 h 1808998"/>
                <a:gd name="connsiteX147" fmla="*/ 680389 w 1136356"/>
                <a:gd name="connsiteY147" fmla="*/ 1677188 h 1808998"/>
                <a:gd name="connsiteX148" fmla="*/ 694488 w 1136356"/>
                <a:gd name="connsiteY148" fmla="*/ 1714896 h 1808998"/>
                <a:gd name="connsiteX149" fmla="*/ 733725 w 1136356"/>
                <a:gd name="connsiteY149" fmla="*/ 1752945 h 1808998"/>
                <a:gd name="connsiteX150" fmla="*/ 800140 w 1136356"/>
                <a:gd name="connsiteY150" fmla="*/ 1760758 h 1808998"/>
                <a:gd name="connsiteX151" fmla="*/ 808463 w 1136356"/>
                <a:gd name="connsiteY151" fmla="*/ 1759739 h 1808998"/>
                <a:gd name="connsiteX152" fmla="*/ 825449 w 1136356"/>
                <a:gd name="connsiteY152" fmla="*/ 1757022 h 1808998"/>
                <a:gd name="connsiteX153" fmla="*/ 875217 w 1136356"/>
                <a:gd name="connsiteY153" fmla="*/ 1766873 h 1808998"/>
                <a:gd name="connsiteX154" fmla="*/ 972207 w 1136356"/>
                <a:gd name="connsiteY154" fmla="*/ 1778594 h 1808998"/>
                <a:gd name="connsiteX155" fmla="*/ 1054589 w 1136356"/>
                <a:gd name="connsiteY155" fmla="*/ 1768572 h 1808998"/>
                <a:gd name="connsiteX156" fmla="*/ 1096204 w 1136356"/>
                <a:gd name="connsiteY156" fmla="*/ 1747339 h 1808998"/>
                <a:gd name="connsiteX157" fmla="*/ 1099771 w 1136356"/>
                <a:gd name="connsiteY157" fmla="*/ 1719483 h 1808998"/>
                <a:gd name="connsiteX158" fmla="*/ 1043038 w 1136356"/>
                <a:gd name="connsiteY158" fmla="*/ 1684662 h 1808998"/>
                <a:gd name="connsiteX159" fmla="*/ 1022145 w 1136356"/>
                <a:gd name="connsiteY159" fmla="*/ 1682623 h 1808998"/>
                <a:gd name="connsiteX160" fmla="*/ 1001253 w 1136356"/>
                <a:gd name="connsiteY160" fmla="*/ 1681434 h 1808998"/>
                <a:gd name="connsiteX161" fmla="*/ 995308 w 1136356"/>
                <a:gd name="connsiteY161" fmla="*/ 1680755 h 1808998"/>
                <a:gd name="connsiteX162" fmla="*/ 980870 w 1136356"/>
                <a:gd name="connsiteY162" fmla="*/ 1671243 h 1808998"/>
                <a:gd name="connsiteX163" fmla="*/ 948257 w 1136356"/>
                <a:gd name="connsiteY163" fmla="*/ 1655616 h 1808998"/>
                <a:gd name="connsiteX164" fmla="*/ 945539 w 1136356"/>
                <a:gd name="connsiteY164" fmla="*/ 1651879 h 1808998"/>
                <a:gd name="connsiteX165" fmla="*/ 950295 w 1136356"/>
                <a:gd name="connsiteY165" fmla="*/ 1649331 h 1808998"/>
                <a:gd name="connsiteX166" fmla="*/ 964733 w 1136356"/>
                <a:gd name="connsiteY166" fmla="*/ 1648991 h 1808998"/>
                <a:gd name="connsiteX167" fmla="*/ 1037773 w 1136356"/>
                <a:gd name="connsiteY167" fmla="*/ 1646783 h 1808998"/>
                <a:gd name="connsiteX168" fmla="*/ 1088560 w 1136356"/>
                <a:gd name="connsiteY168" fmla="*/ 1626740 h 1808998"/>
                <a:gd name="connsiteX169" fmla="*/ 1092467 w 1136356"/>
                <a:gd name="connsiteY169" fmla="*/ 1607206 h 1808998"/>
                <a:gd name="connsiteX170" fmla="*/ 1071235 w 1136356"/>
                <a:gd name="connsiteY170" fmla="*/ 1587842 h 1808998"/>
                <a:gd name="connsiteX171" fmla="*/ 1058326 w 1136356"/>
                <a:gd name="connsiteY171" fmla="*/ 1584105 h 1808998"/>
                <a:gd name="connsiteX172" fmla="*/ 1055947 w 1136356"/>
                <a:gd name="connsiteY172" fmla="*/ 1584615 h 1808998"/>
                <a:gd name="connsiteX173" fmla="*/ 1044737 w 1136356"/>
                <a:gd name="connsiteY173" fmla="*/ 1587332 h 1808998"/>
                <a:gd name="connsiteX174" fmla="*/ 1029959 w 1136356"/>
                <a:gd name="connsiteY174" fmla="*/ 1581387 h 1808998"/>
                <a:gd name="connsiteX175" fmla="*/ 1003461 w 1136356"/>
                <a:gd name="connsiteY175" fmla="*/ 1570347 h 1808998"/>
                <a:gd name="connsiteX176" fmla="*/ 994968 w 1136356"/>
                <a:gd name="connsiteY176" fmla="*/ 1561514 h 1808998"/>
                <a:gd name="connsiteX177" fmla="*/ 995987 w 1136356"/>
                <a:gd name="connsiteY177" fmla="*/ 1489324 h 1808998"/>
                <a:gd name="connsiteX178" fmla="*/ 1001253 w 1136356"/>
                <a:gd name="connsiteY178" fmla="*/ 1482360 h 1808998"/>
                <a:gd name="connsiteX179" fmla="*/ 1008047 w 1136356"/>
                <a:gd name="connsiteY179" fmla="*/ 1468941 h 1808998"/>
                <a:gd name="connsiteX180" fmla="*/ 1006519 w 1136356"/>
                <a:gd name="connsiteY180" fmla="*/ 1457220 h 1808998"/>
                <a:gd name="connsiteX181" fmla="*/ 1002442 w 1136356"/>
                <a:gd name="connsiteY181" fmla="*/ 1390296 h 1808998"/>
                <a:gd name="connsiteX182" fmla="*/ 1006519 w 1136356"/>
                <a:gd name="connsiteY182" fmla="*/ 1229439 h 1808998"/>
                <a:gd name="connsiteX183" fmla="*/ 1015691 w 1136356"/>
                <a:gd name="connsiteY183" fmla="*/ 1100856 h 1808998"/>
                <a:gd name="connsiteX184" fmla="*/ 999724 w 1136356"/>
                <a:gd name="connsiteY184" fmla="*/ 1050238 h 1808998"/>
                <a:gd name="connsiteX185" fmla="*/ 992760 w 1136356"/>
                <a:gd name="connsiteY185" fmla="*/ 1032403 h 1808998"/>
                <a:gd name="connsiteX186" fmla="*/ 983248 w 1136356"/>
                <a:gd name="connsiteY186" fmla="*/ 1004037 h 1808998"/>
                <a:gd name="connsiteX187" fmla="*/ 981719 w 1136356"/>
                <a:gd name="connsiteY187" fmla="*/ 990957 h 1808998"/>
                <a:gd name="connsiteX188" fmla="*/ 1133403 w 1136356"/>
                <a:gd name="connsiteY188" fmla="*/ 687759 h 1808998"/>
                <a:gd name="connsiteX189" fmla="*/ 1137819 w 1136356"/>
                <a:gd name="connsiteY189" fmla="*/ 680795 h 1808998"/>
                <a:gd name="connsiteX190" fmla="*/ 1137819 w 1136356"/>
                <a:gd name="connsiteY190" fmla="*/ 679096 h 1808998"/>
                <a:gd name="connsiteX191" fmla="*/ 1127628 w 1136356"/>
                <a:gd name="connsiteY191" fmla="*/ 671962 h 1808998"/>
                <a:gd name="connsiteX192" fmla="*/ 187798 w 1136356"/>
                <a:gd name="connsiteY192" fmla="*/ 1154022 h 1808998"/>
                <a:gd name="connsiteX193" fmla="*/ 143125 w 1136356"/>
                <a:gd name="connsiteY193" fmla="*/ 1155891 h 1808998"/>
                <a:gd name="connsiteX194" fmla="*/ 125630 w 1136356"/>
                <a:gd name="connsiteY194" fmla="*/ 1144000 h 1808998"/>
                <a:gd name="connsiteX195" fmla="*/ 103548 w 1136356"/>
                <a:gd name="connsiteY195" fmla="*/ 1086079 h 1808998"/>
                <a:gd name="connsiteX196" fmla="*/ 103548 w 1136356"/>
                <a:gd name="connsiteY196" fmla="*/ 1069942 h 1808998"/>
                <a:gd name="connsiteX197" fmla="*/ 107795 w 1136356"/>
                <a:gd name="connsiteY197" fmla="*/ 997242 h 1808998"/>
                <a:gd name="connsiteX198" fmla="*/ 120364 w 1136356"/>
                <a:gd name="connsiteY198" fmla="*/ 987051 h 1808998"/>
                <a:gd name="connsiteX199" fmla="*/ 128687 w 1136356"/>
                <a:gd name="connsiteY199" fmla="*/ 997072 h 1808998"/>
                <a:gd name="connsiteX200" fmla="*/ 152128 w 1136356"/>
                <a:gd name="connsiteY200" fmla="*/ 1027817 h 1808998"/>
                <a:gd name="connsiteX201" fmla="*/ 176078 w 1136356"/>
                <a:gd name="connsiteY201" fmla="*/ 1063317 h 1808998"/>
                <a:gd name="connsiteX202" fmla="*/ 176758 w 1136356"/>
                <a:gd name="connsiteY202" fmla="*/ 1066545 h 1808998"/>
                <a:gd name="connsiteX203" fmla="*/ 192215 w 1136356"/>
                <a:gd name="connsiteY203" fmla="*/ 1124636 h 1808998"/>
                <a:gd name="connsiteX204" fmla="*/ 187798 w 1136356"/>
                <a:gd name="connsiteY204" fmla="*/ 1154022 h 1808998"/>
                <a:gd name="connsiteX205" fmla="*/ 795724 w 1136356"/>
                <a:gd name="connsiteY205" fmla="*/ 1195638 h 1808998"/>
                <a:gd name="connsiteX206" fmla="*/ 783663 w 1136356"/>
                <a:gd name="connsiteY206" fmla="*/ 1278699 h 1808998"/>
                <a:gd name="connsiteX207" fmla="*/ 782305 w 1136356"/>
                <a:gd name="connsiteY207" fmla="*/ 1330506 h 1808998"/>
                <a:gd name="connsiteX208" fmla="*/ 772962 w 1136356"/>
                <a:gd name="connsiteY208" fmla="*/ 1370422 h 1808998"/>
                <a:gd name="connsiteX209" fmla="*/ 750201 w 1136356"/>
                <a:gd name="connsiteY209" fmla="*/ 1462486 h 1808998"/>
                <a:gd name="connsiteX210" fmla="*/ 721495 w 1136356"/>
                <a:gd name="connsiteY210" fmla="*/ 1605337 h 1808998"/>
                <a:gd name="connsiteX211" fmla="*/ 720306 w 1136356"/>
                <a:gd name="connsiteY211" fmla="*/ 1606526 h 1808998"/>
                <a:gd name="connsiteX212" fmla="*/ 715041 w 1136356"/>
                <a:gd name="connsiteY212" fmla="*/ 1586313 h 1808998"/>
                <a:gd name="connsiteX213" fmla="*/ 702981 w 1136356"/>
                <a:gd name="connsiteY213" fmla="*/ 1577820 h 1808998"/>
                <a:gd name="connsiteX214" fmla="*/ 615673 w 1136356"/>
                <a:gd name="connsiteY214" fmla="*/ 1561174 h 1808998"/>
                <a:gd name="connsiteX215" fmla="*/ 590024 w 1136356"/>
                <a:gd name="connsiteY215" fmla="*/ 1555739 h 1808998"/>
                <a:gd name="connsiteX216" fmla="*/ 585778 w 1136356"/>
                <a:gd name="connsiteY216" fmla="*/ 1550643 h 1808998"/>
                <a:gd name="connsiteX217" fmla="*/ 589515 w 1136356"/>
                <a:gd name="connsiteY217" fmla="*/ 1516671 h 1808998"/>
                <a:gd name="connsiteX218" fmla="*/ 585608 w 1136356"/>
                <a:gd name="connsiteY218" fmla="*/ 1479302 h 1808998"/>
                <a:gd name="connsiteX219" fmla="*/ 579493 w 1136356"/>
                <a:gd name="connsiteY219" fmla="*/ 1475395 h 1808998"/>
                <a:gd name="connsiteX220" fmla="*/ 569471 w 1136356"/>
                <a:gd name="connsiteY220" fmla="*/ 1463675 h 1808998"/>
                <a:gd name="connsiteX221" fmla="*/ 553335 w 1136356"/>
                <a:gd name="connsiteY221" fmla="*/ 1443292 h 1808998"/>
                <a:gd name="connsiteX222" fmla="*/ 541275 w 1136356"/>
                <a:gd name="connsiteY222" fmla="*/ 1444481 h 1808998"/>
                <a:gd name="connsiteX223" fmla="*/ 442077 w 1136356"/>
                <a:gd name="connsiteY223" fmla="*/ 1492381 h 1808998"/>
                <a:gd name="connsiteX224" fmla="*/ 424072 w 1136356"/>
                <a:gd name="connsiteY224" fmla="*/ 1481340 h 1808998"/>
                <a:gd name="connsiteX225" fmla="*/ 423053 w 1136356"/>
                <a:gd name="connsiteY225" fmla="*/ 1308933 h 1808998"/>
                <a:gd name="connsiteX226" fmla="*/ 423393 w 1136356"/>
                <a:gd name="connsiteY226" fmla="*/ 1264261 h 1808998"/>
                <a:gd name="connsiteX227" fmla="*/ 419486 w 1136356"/>
                <a:gd name="connsiteY227" fmla="*/ 1258485 h 1808998"/>
                <a:gd name="connsiteX228" fmla="*/ 409294 w 1136356"/>
                <a:gd name="connsiteY228" fmla="*/ 1254239 h 1808998"/>
                <a:gd name="connsiteX229" fmla="*/ 404708 w 1136356"/>
                <a:gd name="connsiteY229" fmla="*/ 1251012 h 1808998"/>
                <a:gd name="connsiteX230" fmla="*/ 408275 w 1136356"/>
                <a:gd name="connsiteY230" fmla="*/ 1246086 h 1808998"/>
                <a:gd name="connsiteX231" fmla="*/ 413371 w 1136356"/>
                <a:gd name="connsiteY231" fmla="*/ 1241669 h 1808998"/>
                <a:gd name="connsiteX232" fmla="*/ 440039 w 1136356"/>
                <a:gd name="connsiteY232" fmla="*/ 1229439 h 1808998"/>
                <a:gd name="connsiteX233" fmla="*/ 585268 w 1136356"/>
                <a:gd name="connsiteY233" fmla="*/ 1229100 h 1808998"/>
                <a:gd name="connsiteX234" fmla="*/ 658987 w 1136356"/>
                <a:gd name="connsiteY234" fmla="*/ 1213133 h 1808998"/>
                <a:gd name="connsiteX235" fmla="*/ 680559 w 1136356"/>
                <a:gd name="connsiteY235" fmla="*/ 1196996 h 1808998"/>
                <a:gd name="connsiteX236" fmla="*/ 690241 w 1136356"/>
                <a:gd name="connsiteY236" fmla="*/ 1192580 h 1808998"/>
                <a:gd name="connsiteX237" fmla="*/ 788589 w 1136356"/>
                <a:gd name="connsiteY237" fmla="*/ 1186805 h 1808998"/>
                <a:gd name="connsiteX238" fmla="*/ 795724 w 1136356"/>
                <a:gd name="connsiteY238" fmla="*/ 1195638 h 180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</a:cxnLst>
              <a:rect l="l" t="t" r="r" b="b"/>
              <a:pathLst>
                <a:path w="1136356" h="1808998">
                  <a:moveTo>
                    <a:pt x="1127628" y="671962"/>
                  </a:moveTo>
                  <a:cubicBezTo>
                    <a:pt x="1090089" y="653957"/>
                    <a:pt x="1052720" y="635612"/>
                    <a:pt x="1015351" y="617607"/>
                  </a:cubicBezTo>
                  <a:cubicBezTo>
                    <a:pt x="1003121" y="611662"/>
                    <a:pt x="1001932" y="611832"/>
                    <a:pt x="995308" y="623383"/>
                  </a:cubicBezTo>
                  <a:cubicBezTo>
                    <a:pt x="981549" y="647503"/>
                    <a:pt x="967621" y="671453"/>
                    <a:pt x="953862" y="695573"/>
                  </a:cubicBezTo>
                  <a:cubicBezTo>
                    <a:pt x="918022" y="757911"/>
                    <a:pt x="882182" y="820079"/>
                    <a:pt x="846341" y="882418"/>
                  </a:cubicBezTo>
                  <a:cubicBezTo>
                    <a:pt x="841416" y="891080"/>
                    <a:pt x="840906" y="891080"/>
                    <a:pt x="833093" y="885305"/>
                  </a:cubicBezTo>
                  <a:cubicBezTo>
                    <a:pt x="814748" y="871547"/>
                    <a:pt x="796063" y="858128"/>
                    <a:pt x="778228" y="844029"/>
                  </a:cubicBezTo>
                  <a:cubicBezTo>
                    <a:pt x="762261" y="831460"/>
                    <a:pt x="744766" y="827043"/>
                    <a:pt x="725062" y="830441"/>
                  </a:cubicBezTo>
                  <a:cubicBezTo>
                    <a:pt x="721665" y="830950"/>
                    <a:pt x="718268" y="831630"/>
                    <a:pt x="715041" y="830271"/>
                  </a:cubicBezTo>
                  <a:cubicBezTo>
                    <a:pt x="709435" y="827893"/>
                    <a:pt x="704000" y="828912"/>
                    <a:pt x="698564" y="831120"/>
                  </a:cubicBezTo>
                  <a:cubicBezTo>
                    <a:pt x="692789" y="833328"/>
                    <a:pt x="687014" y="835536"/>
                    <a:pt x="680559" y="834687"/>
                  </a:cubicBezTo>
                  <a:cubicBezTo>
                    <a:pt x="658308" y="831969"/>
                    <a:pt x="636736" y="826194"/>
                    <a:pt x="614654" y="823137"/>
                  </a:cubicBezTo>
                  <a:cubicBezTo>
                    <a:pt x="611427" y="822627"/>
                    <a:pt x="608879" y="820929"/>
                    <a:pt x="606671" y="818551"/>
                  </a:cubicBezTo>
                  <a:cubicBezTo>
                    <a:pt x="600895" y="812096"/>
                    <a:pt x="593422" y="809208"/>
                    <a:pt x="584929" y="808189"/>
                  </a:cubicBezTo>
                  <a:cubicBezTo>
                    <a:pt x="573208" y="806830"/>
                    <a:pt x="563017" y="800715"/>
                    <a:pt x="552146" y="796639"/>
                  </a:cubicBezTo>
                  <a:cubicBezTo>
                    <a:pt x="549258" y="795620"/>
                    <a:pt x="546710" y="793411"/>
                    <a:pt x="545351" y="790524"/>
                  </a:cubicBezTo>
                  <a:cubicBezTo>
                    <a:pt x="535500" y="770990"/>
                    <a:pt x="516306" y="772349"/>
                    <a:pt x="499490" y="772689"/>
                  </a:cubicBezTo>
                  <a:cubicBezTo>
                    <a:pt x="489977" y="772858"/>
                    <a:pt x="482164" y="772519"/>
                    <a:pt x="475709" y="765555"/>
                  </a:cubicBezTo>
                  <a:cubicBezTo>
                    <a:pt x="468405" y="757571"/>
                    <a:pt x="459912" y="752815"/>
                    <a:pt x="449381" y="751796"/>
                  </a:cubicBezTo>
                  <a:cubicBezTo>
                    <a:pt x="443606" y="751286"/>
                    <a:pt x="439869" y="748399"/>
                    <a:pt x="440209" y="741944"/>
                  </a:cubicBezTo>
                  <a:cubicBezTo>
                    <a:pt x="440548" y="733961"/>
                    <a:pt x="435623" y="730394"/>
                    <a:pt x="428319" y="728865"/>
                  </a:cubicBezTo>
                  <a:cubicBezTo>
                    <a:pt x="424921" y="728186"/>
                    <a:pt x="421524" y="728016"/>
                    <a:pt x="418127" y="727846"/>
                  </a:cubicBezTo>
                  <a:cubicBezTo>
                    <a:pt x="407426" y="727336"/>
                    <a:pt x="402840" y="720542"/>
                    <a:pt x="406916" y="710520"/>
                  </a:cubicBezTo>
                  <a:cubicBezTo>
                    <a:pt x="409464" y="704405"/>
                    <a:pt x="411333" y="698290"/>
                    <a:pt x="413541" y="692175"/>
                  </a:cubicBezTo>
                  <a:cubicBezTo>
                    <a:pt x="417278" y="682663"/>
                    <a:pt x="417108" y="672132"/>
                    <a:pt x="421354" y="662620"/>
                  </a:cubicBezTo>
                  <a:cubicBezTo>
                    <a:pt x="428319" y="646993"/>
                    <a:pt x="427469" y="632045"/>
                    <a:pt x="419656" y="616928"/>
                  </a:cubicBezTo>
                  <a:cubicBezTo>
                    <a:pt x="413031" y="604189"/>
                    <a:pt x="406747" y="591109"/>
                    <a:pt x="403349" y="577011"/>
                  </a:cubicBezTo>
                  <a:cubicBezTo>
                    <a:pt x="399782" y="562403"/>
                    <a:pt x="394177" y="548475"/>
                    <a:pt x="389081" y="534376"/>
                  </a:cubicBezTo>
                  <a:cubicBezTo>
                    <a:pt x="381098" y="512295"/>
                    <a:pt x="370567" y="491062"/>
                    <a:pt x="367849" y="467452"/>
                  </a:cubicBezTo>
                  <a:cubicBezTo>
                    <a:pt x="366490" y="455392"/>
                    <a:pt x="364791" y="443162"/>
                    <a:pt x="373794" y="432631"/>
                  </a:cubicBezTo>
                  <a:cubicBezTo>
                    <a:pt x="375323" y="430932"/>
                    <a:pt x="375832" y="428554"/>
                    <a:pt x="376681" y="426516"/>
                  </a:cubicBezTo>
                  <a:cubicBezTo>
                    <a:pt x="379739" y="418872"/>
                    <a:pt x="379060" y="412588"/>
                    <a:pt x="372265" y="406812"/>
                  </a:cubicBezTo>
                  <a:cubicBezTo>
                    <a:pt x="364452" y="400188"/>
                    <a:pt x="357487" y="392884"/>
                    <a:pt x="350693" y="385240"/>
                  </a:cubicBezTo>
                  <a:cubicBezTo>
                    <a:pt x="345258" y="379125"/>
                    <a:pt x="345597" y="375558"/>
                    <a:pt x="351542" y="370123"/>
                  </a:cubicBezTo>
                  <a:cubicBezTo>
                    <a:pt x="357657" y="364517"/>
                    <a:pt x="362753" y="363838"/>
                    <a:pt x="370736" y="368764"/>
                  </a:cubicBezTo>
                  <a:cubicBezTo>
                    <a:pt x="380249" y="374539"/>
                    <a:pt x="389931" y="379635"/>
                    <a:pt x="400292" y="383542"/>
                  </a:cubicBezTo>
                  <a:cubicBezTo>
                    <a:pt x="414900" y="388977"/>
                    <a:pt x="424752" y="384901"/>
                    <a:pt x="430697" y="370972"/>
                  </a:cubicBezTo>
                  <a:cubicBezTo>
                    <a:pt x="433584" y="364178"/>
                    <a:pt x="438001" y="360101"/>
                    <a:pt x="444795" y="357383"/>
                  </a:cubicBezTo>
                  <a:cubicBezTo>
                    <a:pt x="454647" y="353646"/>
                    <a:pt x="459403" y="342945"/>
                    <a:pt x="468915" y="338529"/>
                  </a:cubicBezTo>
                  <a:cubicBezTo>
                    <a:pt x="469934" y="338019"/>
                    <a:pt x="470104" y="335981"/>
                    <a:pt x="470444" y="334622"/>
                  </a:cubicBezTo>
                  <a:cubicBezTo>
                    <a:pt x="474011" y="323921"/>
                    <a:pt x="475200" y="322902"/>
                    <a:pt x="485901" y="322732"/>
                  </a:cubicBezTo>
                  <a:cubicBezTo>
                    <a:pt x="500509" y="322392"/>
                    <a:pt x="505435" y="317466"/>
                    <a:pt x="506114" y="302689"/>
                  </a:cubicBezTo>
                  <a:cubicBezTo>
                    <a:pt x="506624" y="289949"/>
                    <a:pt x="505265" y="277210"/>
                    <a:pt x="503566" y="264640"/>
                  </a:cubicBezTo>
                  <a:cubicBezTo>
                    <a:pt x="501868" y="252580"/>
                    <a:pt x="503906" y="241539"/>
                    <a:pt x="510700" y="231518"/>
                  </a:cubicBezTo>
                  <a:cubicBezTo>
                    <a:pt x="512908" y="228121"/>
                    <a:pt x="514267" y="224554"/>
                    <a:pt x="514607" y="220477"/>
                  </a:cubicBezTo>
                  <a:cubicBezTo>
                    <a:pt x="515626" y="209776"/>
                    <a:pt x="516475" y="199075"/>
                    <a:pt x="518344" y="188543"/>
                  </a:cubicBezTo>
                  <a:cubicBezTo>
                    <a:pt x="521231" y="172237"/>
                    <a:pt x="522081" y="155251"/>
                    <a:pt x="532782" y="141153"/>
                  </a:cubicBezTo>
                  <a:cubicBezTo>
                    <a:pt x="534820" y="138435"/>
                    <a:pt x="535500" y="134698"/>
                    <a:pt x="534480" y="131301"/>
                  </a:cubicBezTo>
                  <a:cubicBezTo>
                    <a:pt x="531933" y="123487"/>
                    <a:pt x="531593" y="114655"/>
                    <a:pt x="527686" y="107860"/>
                  </a:cubicBezTo>
                  <a:cubicBezTo>
                    <a:pt x="518853" y="92233"/>
                    <a:pt x="514607" y="73379"/>
                    <a:pt x="498980" y="61829"/>
                  </a:cubicBezTo>
                  <a:cubicBezTo>
                    <a:pt x="498131" y="61149"/>
                    <a:pt x="497451" y="60130"/>
                    <a:pt x="496772" y="59281"/>
                  </a:cubicBezTo>
                  <a:cubicBezTo>
                    <a:pt x="490147" y="50108"/>
                    <a:pt x="481145" y="43484"/>
                    <a:pt x="471293" y="38728"/>
                  </a:cubicBezTo>
                  <a:cubicBezTo>
                    <a:pt x="461101" y="33802"/>
                    <a:pt x="452439" y="27008"/>
                    <a:pt x="445644" y="18345"/>
                  </a:cubicBezTo>
                  <a:cubicBezTo>
                    <a:pt x="439699" y="10871"/>
                    <a:pt x="432056" y="7983"/>
                    <a:pt x="423223" y="5945"/>
                  </a:cubicBezTo>
                  <a:cubicBezTo>
                    <a:pt x="409634" y="3397"/>
                    <a:pt x="395706" y="1868"/>
                    <a:pt x="381777" y="0"/>
                  </a:cubicBezTo>
                  <a:cubicBezTo>
                    <a:pt x="378890" y="0"/>
                    <a:pt x="376172" y="0"/>
                    <a:pt x="373284" y="0"/>
                  </a:cubicBezTo>
                  <a:cubicBezTo>
                    <a:pt x="363772" y="3227"/>
                    <a:pt x="354430" y="6964"/>
                    <a:pt x="344918" y="9852"/>
                  </a:cubicBezTo>
                  <a:cubicBezTo>
                    <a:pt x="327932" y="14778"/>
                    <a:pt x="313154" y="23780"/>
                    <a:pt x="300075" y="35161"/>
                  </a:cubicBezTo>
                  <a:cubicBezTo>
                    <a:pt x="288695" y="45013"/>
                    <a:pt x="280202" y="57412"/>
                    <a:pt x="273407" y="71001"/>
                  </a:cubicBezTo>
                  <a:cubicBezTo>
                    <a:pt x="263216" y="91214"/>
                    <a:pt x="253194" y="111088"/>
                    <a:pt x="251156" y="134358"/>
                  </a:cubicBezTo>
                  <a:cubicBezTo>
                    <a:pt x="249797" y="150835"/>
                    <a:pt x="246909" y="167311"/>
                    <a:pt x="243172" y="183618"/>
                  </a:cubicBezTo>
                  <a:cubicBezTo>
                    <a:pt x="239435" y="200603"/>
                    <a:pt x="234510" y="217929"/>
                    <a:pt x="237907" y="235594"/>
                  </a:cubicBezTo>
                  <a:cubicBezTo>
                    <a:pt x="240794" y="250202"/>
                    <a:pt x="234510" y="261583"/>
                    <a:pt x="227375" y="272794"/>
                  </a:cubicBezTo>
                  <a:cubicBezTo>
                    <a:pt x="224488" y="277380"/>
                    <a:pt x="221091" y="279758"/>
                    <a:pt x="214636" y="276530"/>
                  </a:cubicBezTo>
                  <a:cubicBezTo>
                    <a:pt x="205124" y="271605"/>
                    <a:pt x="196801" y="275681"/>
                    <a:pt x="194423" y="286382"/>
                  </a:cubicBezTo>
                  <a:cubicBezTo>
                    <a:pt x="190007" y="305237"/>
                    <a:pt x="181514" y="321713"/>
                    <a:pt x="167925" y="335641"/>
                  </a:cubicBezTo>
                  <a:cubicBezTo>
                    <a:pt x="162659" y="341077"/>
                    <a:pt x="157903" y="347192"/>
                    <a:pt x="153317" y="353307"/>
                  </a:cubicBezTo>
                  <a:cubicBezTo>
                    <a:pt x="140747" y="370123"/>
                    <a:pt x="126309" y="385240"/>
                    <a:pt x="115948" y="403585"/>
                  </a:cubicBezTo>
                  <a:cubicBezTo>
                    <a:pt x="99811" y="431612"/>
                    <a:pt x="81976" y="458449"/>
                    <a:pt x="59045" y="481550"/>
                  </a:cubicBezTo>
                  <a:cubicBezTo>
                    <a:pt x="55138" y="485627"/>
                    <a:pt x="51062" y="489703"/>
                    <a:pt x="49193" y="495139"/>
                  </a:cubicBezTo>
                  <a:cubicBezTo>
                    <a:pt x="39681" y="521807"/>
                    <a:pt x="33057" y="549494"/>
                    <a:pt x="29320" y="577181"/>
                  </a:cubicBezTo>
                  <a:cubicBezTo>
                    <a:pt x="25753" y="604698"/>
                    <a:pt x="23035" y="632895"/>
                    <a:pt x="29320" y="660752"/>
                  </a:cubicBezTo>
                  <a:cubicBezTo>
                    <a:pt x="30169" y="664658"/>
                    <a:pt x="29320" y="667546"/>
                    <a:pt x="25753" y="670264"/>
                  </a:cubicBezTo>
                  <a:cubicBezTo>
                    <a:pt x="3841" y="686230"/>
                    <a:pt x="-2104" y="709331"/>
                    <a:pt x="614" y="734131"/>
                  </a:cubicBezTo>
                  <a:cubicBezTo>
                    <a:pt x="3501" y="762497"/>
                    <a:pt x="10126" y="790354"/>
                    <a:pt x="17600" y="818041"/>
                  </a:cubicBezTo>
                  <a:cubicBezTo>
                    <a:pt x="23375" y="838934"/>
                    <a:pt x="30509" y="859656"/>
                    <a:pt x="34416" y="881059"/>
                  </a:cubicBezTo>
                  <a:cubicBezTo>
                    <a:pt x="38492" y="903480"/>
                    <a:pt x="44098" y="925052"/>
                    <a:pt x="53949" y="945435"/>
                  </a:cubicBezTo>
                  <a:cubicBezTo>
                    <a:pt x="59725" y="957325"/>
                    <a:pt x="61763" y="969555"/>
                    <a:pt x="61763" y="982295"/>
                  </a:cubicBezTo>
                  <a:cubicBezTo>
                    <a:pt x="61763" y="992996"/>
                    <a:pt x="60574" y="1003697"/>
                    <a:pt x="59894" y="1014398"/>
                  </a:cubicBezTo>
                  <a:cubicBezTo>
                    <a:pt x="57856" y="1042934"/>
                    <a:pt x="53440" y="1071131"/>
                    <a:pt x="54289" y="1099837"/>
                  </a:cubicBezTo>
                  <a:cubicBezTo>
                    <a:pt x="55138" y="1126335"/>
                    <a:pt x="63801" y="1149436"/>
                    <a:pt x="79768" y="1170498"/>
                  </a:cubicBezTo>
                  <a:cubicBezTo>
                    <a:pt x="85204" y="1177632"/>
                    <a:pt x="92847" y="1181709"/>
                    <a:pt x="97943" y="1188673"/>
                  </a:cubicBezTo>
                  <a:cubicBezTo>
                    <a:pt x="102189" y="1194449"/>
                    <a:pt x="108814" y="1197676"/>
                    <a:pt x="115269" y="1200903"/>
                  </a:cubicBezTo>
                  <a:cubicBezTo>
                    <a:pt x="123252" y="1205150"/>
                    <a:pt x="131575" y="1208377"/>
                    <a:pt x="140408" y="1210755"/>
                  </a:cubicBezTo>
                  <a:cubicBezTo>
                    <a:pt x="158922" y="1215851"/>
                    <a:pt x="177267" y="1221966"/>
                    <a:pt x="196801" y="1222985"/>
                  </a:cubicBezTo>
                  <a:cubicBezTo>
                    <a:pt x="211239" y="1223834"/>
                    <a:pt x="225677" y="1224514"/>
                    <a:pt x="239945" y="1225872"/>
                  </a:cubicBezTo>
                  <a:cubicBezTo>
                    <a:pt x="255402" y="1227401"/>
                    <a:pt x="255232" y="1227741"/>
                    <a:pt x="259649" y="1242349"/>
                  </a:cubicBezTo>
                  <a:cubicBezTo>
                    <a:pt x="261517" y="1248294"/>
                    <a:pt x="262536" y="1255428"/>
                    <a:pt x="270690" y="1256787"/>
                  </a:cubicBezTo>
                  <a:cubicBezTo>
                    <a:pt x="282410" y="1258655"/>
                    <a:pt x="293790" y="1257126"/>
                    <a:pt x="304661" y="1252031"/>
                  </a:cubicBezTo>
                  <a:cubicBezTo>
                    <a:pt x="310946" y="1249143"/>
                    <a:pt x="313834" y="1244387"/>
                    <a:pt x="314004" y="1237253"/>
                  </a:cubicBezTo>
                  <a:cubicBezTo>
                    <a:pt x="314004" y="1223834"/>
                    <a:pt x="314683" y="1223494"/>
                    <a:pt x="327762" y="1223494"/>
                  </a:cubicBezTo>
                  <a:cubicBezTo>
                    <a:pt x="331159" y="1223494"/>
                    <a:pt x="334556" y="1223834"/>
                    <a:pt x="337954" y="1224174"/>
                  </a:cubicBezTo>
                  <a:cubicBezTo>
                    <a:pt x="341351" y="1224514"/>
                    <a:pt x="344578" y="1226212"/>
                    <a:pt x="344578" y="1229779"/>
                  </a:cubicBezTo>
                  <a:cubicBezTo>
                    <a:pt x="344408" y="1240141"/>
                    <a:pt x="351203" y="1241160"/>
                    <a:pt x="359016" y="1241500"/>
                  </a:cubicBezTo>
                  <a:cubicBezTo>
                    <a:pt x="365980" y="1241839"/>
                    <a:pt x="367509" y="1245576"/>
                    <a:pt x="365811" y="1251861"/>
                  </a:cubicBezTo>
                  <a:cubicBezTo>
                    <a:pt x="364112" y="1258485"/>
                    <a:pt x="358846" y="1260184"/>
                    <a:pt x="353241" y="1261543"/>
                  </a:cubicBezTo>
                  <a:cubicBezTo>
                    <a:pt x="350693" y="1262222"/>
                    <a:pt x="346447" y="1261883"/>
                    <a:pt x="347636" y="1266639"/>
                  </a:cubicBezTo>
                  <a:cubicBezTo>
                    <a:pt x="350014" y="1277340"/>
                    <a:pt x="348655" y="1288041"/>
                    <a:pt x="348315" y="1298742"/>
                  </a:cubicBezTo>
                  <a:cubicBezTo>
                    <a:pt x="348145" y="1304347"/>
                    <a:pt x="346447" y="1310462"/>
                    <a:pt x="348994" y="1315558"/>
                  </a:cubicBezTo>
                  <a:cubicBezTo>
                    <a:pt x="352222" y="1322013"/>
                    <a:pt x="350014" y="1328807"/>
                    <a:pt x="349504" y="1334582"/>
                  </a:cubicBezTo>
                  <a:cubicBezTo>
                    <a:pt x="348485" y="1345623"/>
                    <a:pt x="347975" y="1356324"/>
                    <a:pt x="348994" y="1367365"/>
                  </a:cubicBezTo>
                  <a:cubicBezTo>
                    <a:pt x="349504" y="1372801"/>
                    <a:pt x="349504" y="1378236"/>
                    <a:pt x="349164" y="1383502"/>
                  </a:cubicBezTo>
                  <a:cubicBezTo>
                    <a:pt x="348825" y="1392504"/>
                    <a:pt x="346616" y="1401846"/>
                    <a:pt x="347975" y="1410679"/>
                  </a:cubicBezTo>
                  <a:cubicBezTo>
                    <a:pt x="349844" y="1421720"/>
                    <a:pt x="349674" y="1433100"/>
                    <a:pt x="349164" y="1443802"/>
                  </a:cubicBezTo>
                  <a:cubicBezTo>
                    <a:pt x="348145" y="1461637"/>
                    <a:pt x="348485" y="1479472"/>
                    <a:pt x="346616" y="1497137"/>
                  </a:cubicBezTo>
                  <a:cubicBezTo>
                    <a:pt x="345767" y="1505291"/>
                    <a:pt x="343559" y="1506989"/>
                    <a:pt x="336255" y="1503932"/>
                  </a:cubicBezTo>
                  <a:cubicBezTo>
                    <a:pt x="321647" y="1497987"/>
                    <a:pt x="306700" y="1493061"/>
                    <a:pt x="292431" y="1486096"/>
                  </a:cubicBezTo>
                  <a:cubicBezTo>
                    <a:pt x="267802" y="1474206"/>
                    <a:pt x="242323" y="1463845"/>
                    <a:pt x="216335" y="1454842"/>
                  </a:cubicBezTo>
                  <a:cubicBezTo>
                    <a:pt x="203425" y="1450426"/>
                    <a:pt x="194593" y="1454333"/>
                    <a:pt x="193743" y="1467922"/>
                  </a:cubicBezTo>
                  <a:cubicBezTo>
                    <a:pt x="192384" y="1489833"/>
                    <a:pt x="184911" y="1513104"/>
                    <a:pt x="201387" y="1533147"/>
                  </a:cubicBezTo>
                  <a:cubicBezTo>
                    <a:pt x="202406" y="1534336"/>
                    <a:pt x="202916" y="1536205"/>
                    <a:pt x="203086" y="1537903"/>
                  </a:cubicBezTo>
                  <a:cubicBezTo>
                    <a:pt x="203255" y="1541301"/>
                    <a:pt x="204614" y="1543509"/>
                    <a:pt x="208012" y="1545037"/>
                  </a:cubicBezTo>
                  <a:cubicBezTo>
                    <a:pt x="212598" y="1547076"/>
                    <a:pt x="212937" y="1551662"/>
                    <a:pt x="212598" y="1556078"/>
                  </a:cubicBezTo>
                  <a:cubicBezTo>
                    <a:pt x="212258" y="1560665"/>
                    <a:pt x="208181" y="1560834"/>
                    <a:pt x="205124" y="1561854"/>
                  </a:cubicBezTo>
                  <a:cubicBezTo>
                    <a:pt x="183212" y="1568478"/>
                    <a:pt x="160791" y="1572894"/>
                    <a:pt x="138369" y="1577650"/>
                  </a:cubicBezTo>
                  <a:cubicBezTo>
                    <a:pt x="116797" y="1582237"/>
                    <a:pt x="95225" y="1586653"/>
                    <a:pt x="73653" y="1591579"/>
                  </a:cubicBezTo>
                  <a:cubicBezTo>
                    <a:pt x="64651" y="1593617"/>
                    <a:pt x="55818" y="1597524"/>
                    <a:pt x="54119" y="1608055"/>
                  </a:cubicBezTo>
                  <a:cubicBezTo>
                    <a:pt x="49873" y="1634893"/>
                    <a:pt x="44098" y="1662070"/>
                    <a:pt x="66009" y="1685001"/>
                  </a:cubicBezTo>
                  <a:cubicBezTo>
                    <a:pt x="66009" y="1695363"/>
                    <a:pt x="74502" y="1696722"/>
                    <a:pt x="81467" y="1699949"/>
                  </a:cubicBezTo>
                  <a:cubicBezTo>
                    <a:pt x="91658" y="1704535"/>
                    <a:pt x="107625" y="1703006"/>
                    <a:pt x="115608" y="1695193"/>
                  </a:cubicBezTo>
                  <a:cubicBezTo>
                    <a:pt x="127838" y="1683303"/>
                    <a:pt x="134802" y="1668695"/>
                    <a:pt x="134123" y="1651199"/>
                  </a:cubicBezTo>
                  <a:cubicBezTo>
                    <a:pt x="133953" y="1647463"/>
                    <a:pt x="133274" y="1644065"/>
                    <a:pt x="131235" y="1640668"/>
                  </a:cubicBezTo>
                  <a:cubicBezTo>
                    <a:pt x="125290" y="1631156"/>
                    <a:pt x="126819" y="1627759"/>
                    <a:pt x="137860" y="1626400"/>
                  </a:cubicBezTo>
                  <a:cubicBezTo>
                    <a:pt x="171832" y="1621984"/>
                    <a:pt x="205634" y="1616548"/>
                    <a:pt x="239775" y="1615529"/>
                  </a:cubicBezTo>
                  <a:cubicBezTo>
                    <a:pt x="241813" y="1615529"/>
                    <a:pt x="244531" y="1615699"/>
                    <a:pt x="245550" y="1614680"/>
                  </a:cubicBezTo>
                  <a:cubicBezTo>
                    <a:pt x="250986" y="1608055"/>
                    <a:pt x="258969" y="1609754"/>
                    <a:pt x="265933" y="1608395"/>
                  </a:cubicBezTo>
                  <a:cubicBezTo>
                    <a:pt x="282580" y="1605337"/>
                    <a:pt x="299396" y="1602790"/>
                    <a:pt x="316042" y="1599902"/>
                  </a:cubicBezTo>
                  <a:cubicBezTo>
                    <a:pt x="327083" y="1598033"/>
                    <a:pt x="338124" y="1597694"/>
                    <a:pt x="348994" y="1599053"/>
                  </a:cubicBezTo>
                  <a:cubicBezTo>
                    <a:pt x="356468" y="1600072"/>
                    <a:pt x="363432" y="1602790"/>
                    <a:pt x="364112" y="1612132"/>
                  </a:cubicBezTo>
                  <a:cubicBezTo>
                    <a:pt x="365471" y="1630816"/>
                    <a:pt x="368698" y="1649161"/>
                    <a:pt x="368528" y="1668015"/>
                  </a:cubicBezTo>
                  <a:cubicBezTo>
                    <a:pt x="368358" y="1680585"/>
                    <a:pt x="366150" y="1682453"/>
                    <a:pt x="353750" y="1679906"/>
                  </a:cubicBezTo>
                  <a:cubicBezTo>
                    <a:pt x="348655" y="1678886"/>
                    <a:pt x="346107" y="1680075"/>
                    <a:pt x="345427" y="1685171"/>
                  </a:cubicBezTo>
                  <a:cubicBezTo>
                    <a:pt x="345088" y="1688229"/>
                    <a:pt x="344578" y="1691286"/>
                    <a:pt x="344578" y="1694513"/>
                  </a:cubicBezTo>
                  <a:cubicBezTo>
                    <a:pt x="344748" y="1726107"/>
                    <a:pt x="348825" y="1756852"/>
                    <a:pt x="361394" y="1786067"/>
                  </a:cubicBezTo>
                  <a:cubicBezTo>
                    <a:pt x="363772" y="1791503"/>
                    <a:pt x="367000" y="1796259"/>
                    <a:pt x="372435" y="1798297"/>
                  </a:cubicBezTo>
                  <a:cubicBezTo>
                    <a:pt x="387722" y="1804072"/>
                    <a:pt x="403349" y="1808829"/>
                    <a:pt x="419995" y="1808998"/>
                  </a:cubicBezTo>
                  <a:cubicBezTo>
                    <a:pt x="425771" y="1809168"/>
                    <a:pt x="431376" y="1807639"/>
                    <a:pt x="435453" y="1803223"/>
                  </a:cubicBezTo>
                  <a:cubicBezTo>
                    <a:pt x="448532" y="1789295"/>
                    <a:pt x="456006" y="1772988"/>
                    <a:pt x="456006" y="1753624"/>
                  </a:cubicBezTo>
                  <a:cubicBezTo>
                    <a:pt x="456006" y="1743263"/>
                    <a:pt x="450570" y="1736639"/>
                    <a:pt x="441568" y="1732562"/>
                  </a:cubicBezTo>
                  <a:cubicBezTo>
                    <a:pt x="438510" y="1731203"/>
                    <a:pt x="435283" y="1729844"/>
                    <a:pt x="432056" y="1729165"/>
                  </a:cubicBezTo>
                  <a:cubicBezTo>
                    <a:pt x="422374" y="1727126"/>
                    <a:pt x="418297" y="1721181"/>
                    <a:pt x="417108" y="1711499"/>
                  </a:cubicBezTo>
                  <a:cubicBezTo>
                    <a:pt x="413371" y="1679736"/>
                    <a:pt x="412692" y="1647632"/>
                    <a:pt x="410653" y="1615869"/>
                  </a:cubicBezTo>
                  <a:cubicBezTo>
                    <a:pt x="409804" y="1603299"/>
                    <a:pt x="413201" y="1599562"/>
                    <a:pt x="425771" y="1597694"/>
                  </a:cubicBezTo>
                  <a:cubicBezTo>
                    <a:pt x="442417" y="1595316"/>
                    <a:pt x="459063" y="1597524"/>
                    <a:pt x="475709" y="1599053"/>
                  </a:cubicBezTo>
                  <a:cubicBezTo>
                    <a:pt x="502377" y="1601770"/>
                    <a:pt x="529045" y="1605847"/>
                    <a:pt x="555713" y="1608395"/>
                  </a:cubicBezTo>
                  <a:cubicBezTo>
                    <a:pt x="591553" y="1611792"/>
                    <a:pt x="627223" y="1614850"/>
                    <a:pt x="662894" y="1618926"/>
                  </a:cubicBezTo>
                  <a:cubicBezTo>
                    <a:pt x="670537" y="1619775"/>
                    <a:pt x="674105" y="1623173"/>
                    <a:pt x="671726" y="1630477"/>
                  </a:cubicBezTo>
                  <a:cubicBezTo>
                    <a:pt x="665951" y="1647802"/>
                    <a:pt x="672916" y="1663259"/>
                    <a:pt x="680389" y="1677188"/>
                  </a:cubicBezTo>
                  <a:cubicBezTo>
                    <a:pt x="686844" y="1689418"/>
                    <a:pt x="691770" y="1701478"/>
                    <a:pt x="694488" y="1714896"/>
                  </a:cubicBezTo>
                  <a:cubicBezTo>
                    <a:pt x="698904" y="1736299"/>
                    <a:pt x="712493" y="1748019"/>
                    <a:pt x="733725" y="1752945"/>
                  </a:cubicBezTo>
                  <a:cubicBezTo>
                    <a:pt x="755637" y="1758041"/>
                    <a:pt x="777888" y="1758890"/>
                    <a:pt x="800140" y="1760758"/>
                  </a:cubicBezTo>
                  <a:cubicBezTo>
                    <a:pt x="802858" y="1760928"/>
                    <a:pt x="805915" y="1761438"/>
                    <a:pt x="808463" y="1759739"/>
                  </a:cubicBezTo>
                  <a:cubicBezTo>
                    <a:pt x="813729" y="1755832"/>
                    <a:pt x="819504" y="1756512"/>
                    <a:pt x="825449" y="1757022"/>
                  </a:cubicBezTo>
                  <a:cubicBezTo>
                    <a:pt x="842605" y="1758041"/>
                    <a:pt x="858911" y="1762117"/>
                    <a:pt x="875217" y="1766873"/>
                  </a:cubicBezTo>
                  <a:cubicBezTo>
                    <a:pt x="906981" y="1776386"/>
                    <a:pt x="939084" y="1781651"/>
                    <a:pt x="972207" y="1778594"/>
                  </a:cubicBezTo>
                  <a:cubicBezTo>
                    <a:pt x="999724" y="1776046"/>
                    <a:pt x="1027411" y="1773498"/>
                    <a:pt x="1054589" y="1768572"/>
                  </a:cubicBezTo>
                  <a:cubicBezTo>
                    <a:pt x="1070725" y="1765684"/>
                    <a:pt x="1085673" y="1761608"/>
                    <a:pt x="1096204" y="1747339"/>
                  </a:cubicBezTo>
                  <a:cubicBezTo>
                    <a:pt x="1101979" y="1739526"/>
                    <a:pt x="1104527" y="1727806"/>
                    <a:pt x="1099771" y="1719483"/>
                  </a:cubicBezTo>
                  <a:cubicBezTo>
                    <a:pt x="1087371" y="1697401"/>
                    <a:pt x="1068857" y="1685171"/>
                    <a:pt x="1043038" y="1684662"/>
                  </a:cubicBezTo>
                  <a:cubicBezTo>
                    <a:pt x="1036074" y="1684492"/>
                    <a:pt x="1028430" y="1685851"/>
                    <a:pt x="1022145" y="1682623"/>
                  </a:cubicBezTo>
                  <a:cubicBezTo>
                    <a:pt x="1015011" y="1678886"/>
                    <a:pt x="1008387" y="1677867"/>
                    <a:pt x="1001253" y="1681434"/>
                  </a:cubicBezTo>
                  <a:cubicBezTo>
                    <a:pt x="999215" y="1682453"/>
                    <a:pt x="995987" y="1683473"/>
                    <a:pt x="995308" y="1680755"/>
                  </a:cubicBezTo>
                  <a:cubicBezTo>
                    <a:pt x="993609" y="1672432"/>
                    <a:pt x="986305" y="1673111"/>
                    <a:pt x="980870" y="1671243"/>
                  </a:cubicBezTo>
                  <a:cubicBezTo>
                    <a:pt x="969319" y="1667336"/>
                    <a:pt x="957769" y="1663939"/>
                    <a:pt x="948257" y="1655616"/>
                  </a:cubicBezTo>
                  <a:cubicBezTo>
                    <a:pt x="947068" y="1654597"/>
                    <a:pt x="945029" y="1653917"/>
                    <a:pt x="945539" y="1651879"/>
                  </a:cubicBezTo>
                  <a:cubicBezTo>
                    <a:pt x="946049" y="1649501"/>
                    <a:pt x="948427" y="1649331"/>
                    <a:pt x="950295" y="1649331"/>
                  </a:cubicBezTo>
                  <a:cubicBezTo>
                    <a:pt x="955051" y="1649161"/>
                    <a:pt x="959977" y="1648991"/>
                    <a:pt x="964733" y="1648991"/>
                  </a:cubicBezTo>
                  <a:cubicBezTo>
                    <a:pt x="989023" y="1648991"/>
                    <a:pt x="1013483" y="1649840"/>
                    <a:pt x="1037773" y="1646783"/>
                  </a:cubicBezTo>
                  <a:cubicBezTo>
                    <a:pt x="1055947" y="1644575"/>
                    <a:pt x="1075821" y="1645084"/>
                    <a:pt x="1088560" y="1626740"/>
                  </a:cubicBezTo>
                  <a:cubicBezTo>
                    <a:pt x="1093147" y="1619945"/>
                    <a:pt x="1097053" y="1614510"/>
                    <a:pt x="1092467" y="1607206"/>
                  </a:cubicBezTo>
                  <a:cubicBezTo>
                    <a:pt x="1087202" y="1598883"/>
                    <a:pt x="1084144" y="1588182"/>
                    <a:pt x="1071235" y="1587842"/>
                  </a:cubicBezTo>
                  <a:cubicBezTo>
                    <a:pt x="1066819" y="1587842"/>
                    <a:pt x="1061383" y="1589880"/>
                    <a:pt x="1058326" y="1584105"/>
                  </a:cubicBezTo>
                  <a:cubicBezTo>
                    <a:pt x="1057646" y="1582916"/>
                    <a:pt x="1056627" y="1583426"/>
                    <a:pt x="1055947" y="1584615"/>
                  </a:cubicBezTo>
                  <a:cubicBezTo>
                    <a:pt x="1053230" y="1589880"/>
                    <a:pt x="1048474" y="1588012"/>
                    <a:pt x="1044737" y="1587332"/>
                  </a:cubicBezTo>
                  <a:cubicBezTo>
                    <a:pt x="1039471" y="1586483"/>
                    <a:pt x="1034715" y="1583595"/>
                    <a:pt x="1029959" y="1581387"/>
                  </a:cubicBezTo>
                  <a:cubicBezTo>
                    <a:pt x="1021296" y="1577650"/>
                    <a:pt x="1014332" y="1569667"/>
                    <a:pt x="1003461" y="1570347"/>
                  </a:cubicBezTo>
                  <a:cubicBezTo>
                    <a:pt x="998195" y="1570686"/>
                    <a:pt x="994968" y="1566610"/>
                    <a:pt x="994968" y="1561514"/>
                  </a:cubicBezTo>
                  <a:cubicBezTo>
                    <a:pt x="994459" y="1537394"/>
                    <a:pt x="994119" y="1513444"/>
                    <a:pt x="995987" y="1489324"/>
                  </a:cubicBezTo>
                  <a:cubicBezTo>
                    <a:pt x="996327" y="1485757"/>
                    <a:pt x="998026" y="1483209"/>
                    <a:pt x="1001253" y="1482360"/>
                  </a:cubicBezTo>
                  <a:cubicBezTo>
                    <a:pt x="1008727" y="1480321"/>
                    <a:pt x="1008727" y="1474886"/>
                    <a:pt x="1008047" y="1468941"/>
                  </a:cubicBezTo>
                  <a:cubicBezTo>
                    <a:pt x="1007538" y="1465034"/>
                    <a:pt x="1006688" y="1461127"/>
                    <a:pt x="1006519" y="1457220"/>
                  </a:cubicBezTo>
                  <a:cubicBezTo>
                    <a:pt x="1005160" y="1434969"/>
                    <a:pt x="1005329" y="1412378"/>
                    <a:pt x="1002442" y="1390296"/>
                  </a:cubicBezTo>
                  <a:cubicBezTo>
                    <a:pt x="995648" y="1336451"/>
                    <a:pt x="1001593" y="1282775"/>
                    <a:pt x="1006519" y="1229439"/>
                  </a:cubicBezTo>
                  <a:cubicBezTo>
                    <a:pt x="1010425" y="1186635"/>
                    <a:pt x="1016370" y="1144170"/>
                    <a:pt x="1015691" y="1100856"/>
                  </a:cubicBezTo>
                  <a:cubicBezTo>
                    <a:pt x="1015351" y="1081832"/>
                    <a:pt x="1010595" y="1065356"/>
                    <a:pt x="999724" y="1050238"/>
                  </a:cubicBezTo>
                  <a:cubicBezTo>
                    <a:pt x="995817" y="1044803"/>
                    <a:pt x="993609" y="1039028"/>
                    <a:pt x="992760" y="1032403"/>
                  </a:cubicBezTo>
                  <a:cubicBezTo>
                    <a:pt x="991231" y="1022381"/>
                    <a:pt x="990042" y="1011850"/>
                    <a:pt x="983248" y="1004037"/>
                  </a:cubicBezTo>
                  <a:cubicBezTo>
                    <a:pt x="979001" y="999111"/>
                    <a:pt x="979171" y="996053"/>
                    <a:pt x="981719" y="990957"/>
                  </a:cubicBezTo>
                  <a:cubicBezTo>
                    <a:pt x="1032337" y="889891"/>
                    <a:pt x="1082785" y="788825"/>
                    <a:pt x="1133403" y="687759"/>
                  </a:cubicBezTo>
                  <a:cubicBezTo>
                    <a:pt x="1134592" y="685381"/>
                    <a:pt x="1135102" y="682324"/>
                    <a:pt x="1137819" y="680795"/>
                  </a:cubicBezTo>
                  <a:cubicBezTo>
                    <a:pt x="1137819" y="680285"/>
                    <a:pt x="1137819" y="679606"/>
                    <a:pt x="1137819" y="679096"/>
                  </a:cubicBezTo>
                  <a:cubicBezTo>
                    <a:pt x="1135442" y="675359"/>
                    <a:pt x="1131365" y="673831"/>
                    <a:pt x="1127628" y="671962"/>
                  </a:cubicBezTo>
                  <a:close/>
                  <a:moveTo>
                    <a:pt x="187798" y="1154022"/>
                  </a:moveTo>
                  <a:cubicBezTo>
                    <a:pt x="172851" y="1168800"/>
                    <a:pt x="159432" y="1169479"/>
                    <a:pt x="143125" y="1155891"/>
                  </a:cubicBezTo>
                  <a:cubicBezTo>
                    <a:pt x="137690" y="1151304"/>
                    <a:pt x="130896" y="1148926"/>
                    <a:pt x="125630" y="1144000"/>
                  </a:cubicBezTo>
                  <a:cubicBezTo>
                    <a:pt x="108984" y="1128204"/>
                    <a:pt x="105417" y="1107481"/>
                    <a:pt x="103548" y="1086079"/>
                  </a:cubicBezTo>
                  <a:cubicBezTo>
                    <a:pt x="103039" y="1080813"/>
                    <a:pt x="103548" y="1075377"/>
                    <a:pt x="103548" y="1069942"/>
                  </a:cubicBezTo>
                  <a:cubicBezTo>
                    <a:pt x="104228" y="1045652"/>
                    <a:pt x="107455" y="1021532"/>
                    <a:pt x="107795" y="997242"/>
                  </a:cubicBezTo>
                  <a:cubicBezTo>
                    <a:pt x="107965" y="989938"/>
                    <a:pt x="113740" y="985012"/>
                    <a:pt x="120364" y="987051"/>
                  </a:cubicBezTo>
                  <a:cubicBezTo>
                    <a:pt x="125120" y="988410"/>
                    <a:pt x="126989" y="993335"/>
                    <a:pt x="128687" y="997072"/>
                  </a:cubicBezTo>
                  <a:cubicBezTo>
                    <a:pt x="134463" y="1008962"/>
                    <a:pt x="143125" y="1018135"/>
                    <a:pt x="152128" y="1027817"/>
                  </a:cubicBezTo>
                  <a:cubicBezTo>
                    <a:pt x="161810" y="1038178"/>
                    <a:pt x="168265" y="1051427"/>
                    <a:pt x="176078" y="1063317"/>
                  </a:cubicBezTo>
                  <a:cubicBezTo>
                    <a:pt x="176588" y="1064167"/>
                    <a:pt x="177097" y="1065695"/>
                    <a:pt x="176758" y="1066545"/>
                  </a:cubicBezTo>
                  <a:cubicBezTo>
                    <a:pt x="170643" y="1088796"/>
                    <a:pt x="183892" y="1106292"/>
                    <a:pt x="192215" y="1124636"/>
                  </a:cubicBezTo>
                  <a:cubicBezTo>
                    <a:pt x="199858" y="1141453"/>
                    <a:pt x="201047" y="1140943"/>
                    <a:pt x="187798" y="1154022"/>
                  </a:cubicBezTo>
                  <a:close/>
                  <a:moveTo>
                    <a:pt x="795724" y="1195638"/>
                  </a:moveTo>
                  <a:cubicBezTo>
                    <a:pt x="790458" y="1223155"/>
                    <a:pt x="786211" y="1250842"/>
                    <a:pt x="783663" y="1278699"/>
                  </a:cubicBezTo>
                  <a:cubicBezTo>
                    <a:pt x="782135" y="1295854"/>
                    <a:pt x="782305" y="1313180"/>
                    <a:pt x="782305" y="1330506"/>
                  </a:cubicBezTo>
                  <a:cubicBezTo>
                    <a:pt x="782305" y="1344604"/>
                    <a:pt x="780436" y="1358362"/>
                    <a:pt x="772962" y="1370422"/>
                  </a:cubicBezTo>
                  <a:cubicBezTo>
                    <a:pt x="755467" y="1398789"/>
                    <a:pt x="753599" y="1430553"/>
                    <a:pt x="750201" y="1462486"/>
                  </a:cubicBezTo>
                  <a:cubicBezTo>
                    <a:pt x="744936" y="1510896"/>
                    <a:pt x="732706" y="1558117"/>
                    <a:pt x="721495" y="1605337"/>
                  </a:cubicBezTo>
                  <a:cubicBezTo>
                    <a:pt x="721325" y="1605677"/>
                    <a:pt x="720816" y="1606017"/>
                    <a:pt x="720306" y="1606526"/>
                  </a:cubicBezTo>
                  <a:cubicBezTo>
                    <a:pt x="717418" y="1600242"/>
                    <a:pt x="720306" y="1592598"/>
                    <a:pt x="715041" y="1586313"/>
                  </a:cubicBezTo>
                  <a:cubicBezTo>
                    <a:pt x="711473" y="1582237"/>
                    <a:pt x="708076" y="1579179"/>
                    <a:pt x="702981" y="1577820"/>
                  </a:cubicBezTo>
                  <a:cubicBezTo>
                    <a:pt x="674274" y="1569837"/>
                    <a:pt x="644719" y="1567119"/>
                    <a:pt x="615673" y="1561174"/>
                  </a:cubicBezTo>
                  <a:cubicBezTo>
                    <a:pt x="607180" y="1559475"/>
                    <a:pt x="598517" y="1557437"/>
                    <a:pt x="590024" y="1555739"/>
                  </a:cubicBezTo>
                  <a:cubicBezTo>
                    <a:pt x="586967" y="1555229"/>
                    <a:pt x="585778" y="1553700"/>
                    <a:pt x="585778" y="1550643"/>
                  </a:cubicBezTo>
                  <a:cubicBezTo>
                    <a:pt x="585268" y="1539092"/>
                    <a:pt x="584419" y="1528221"/>
                    <a:pt x="589515" y="1516671"/>
                  </a:cubicBezTo>
                  <a:cubicBezTo>
                    <a:pt x="594950" y="1504611"/>
                    <a:pt x="593082" y="1491192"/>
                    <a:pt x="585608" y="1479302"/>
                  </a:cubicBezTo>
                  <a:cubicBezTo>
                    <a:pt x="584079" y="1476924"/>
                    <a:pt x="582041" y="1475225"/>
                    <a:pt x="579493" y="1475395"/>
                  </a:cubicBezTo>
                  <a:cubicBezTo>
                    <a:pt x="571170" y="1475565"/>
                    <a:pt x="569981" y="1470639"/>
                    <a:pt x="569471" y="1463675"/>
                  </a:cubicBezTo>
                  <a:cubicBezTo>
                    <a:pt x="568792" y="1453484"/>
                    <a:pt x="564036" y="1446349"/>
                    <a:pt x="553335" y="1443292"/>
                  </a:cubicBezTo>
                  <a:cubicBezTo>
                    <a:pt x="548749" y="1441933"/>
                    <a:pt x="545182" y="1442443"/>
                    <a:pt x="541275" y="1444481"/>
                  </a:cubicBezTo>
                  <a:cubicBezTo>
                    <a:pt x="508322" y="1460618"/>
                    <a:pt x="475200" y="1476584"/>
                    <a:pt x="442077" y="1492381"/>
                  </a:cubicBezTo>
                  <a:cubicBezTo>
                    <a:pt x="426110" y="1500025"/>
                    <a:pt x="424921" y="1499006"/>
                    <a:pt x="424072" y="1481340"/>
                  </a:cubicBezTo>
                  <a:cubicBezTo>
                    <a:pt x="421015" y="1423928"/>
                    <a:pt x="421864" y="1366346"/>
                    <a:pt x="423053" y="1308933"/>
                  </a:cubicBezTo>
                  <a:cubicBezTo>
                    <a:pt x="423393" y="1293986"/>
                    <a:pt x="421185" y="1279038"/>
                    <a:pt x="423393" y="1264261"/>
                  </a:cubicBezTo>
                  <a:cubicBezTo>
                    <a:pt x="423902" y="1261033"/>
                    <a:pt x="421864" y="1259505"/>
                    <a:pt x="419486" y="1258485"/>
                  </a:cubicBezTo>
                  <a:cubicBezTo>
                    <a:pt x="416259" y="1256957"/>
                    <a:pt x="412692" y="1255768"/>
                    <a:pt x="409294" y="1254239"/>
                  </a:cubicBezTo>
                  <a:cubicBezTo>
                    <a:pt x="407426" y="1253559"/>
                    <a:pt x="405218" y="1253220"/>
                    <a:pt x="404708" y="1251012"/>
                  </a:cubicBezTo>
                  <a:cubicBezTo>
                    <a:pt x="404199" y="1248294"/>
                    <a:pt x="406407" y="1247275"/>
                    <a:pt x="408275" y="1246086"/>
                  </a:cubicBezTo>
                  <a:cubicBezTo>
                    <a:pt x="410144" y="1244897"/>
                    <a:pt x="412522" y="1243538"/>
                    <a:pt x="413371" y="1241669"/>
                  </a:cubicBezTo>
                  <a:cubicBezTo>
                    <a:pt x="418807" y="1229609"/>
                    <a:pt x="428828" y="1229439"/>
                    <a:pt x="440039" y="1229439"/>
                  </a:cubicBezTo>
                  <a:cubicBezTo>
                    <a:pt x="488449" y="1229779"/>
                    <a:pt x="536859" y="1230459"/>
                    <a:pt x="585268" y="1229100"/>
                  </a:cubicBezTo>
                  <a:cubicBezTo>
                    <a:pt x="610577" y="1228420"/>
                    <a:pt x="635886" y="1224683"/>
                    <a:pt x="658987" y="1213133"/>
                  </a:cubicBezTo>
                  <a:cubicBezTo>
                    <a:pt x="667140" y="1209056"/>
                    <a:pt x="673935" y="1203111"/>
                    <a:pt x="680559" y="1196996"/>
                  </a:cubicBezTo>
                  <a:cubicBezTo>
                    <a:pt x="683447" y="1194449"/>
                    <a:pt x="686164" y="1192750"/>
                    <a:pt x="690241" y="1192580"/>
                  </a:cubicBezTo>
                  <a:cubicBezTo>
                    <a:pt x="723024" y="1190881"/>
                    <a:pt x="755807" y="1189183"/>
                    <a:pt x="788589" y="1186805"/>
                  </a:cubicBezTo>
                  <a:cubicBezTo>
                    <a:pt x="796743" y="1186295"/>
                    <a:pt x="797082" y="1189183"/>
                    <a:pt x="795724" y="1195638"/>
                  </a:cubicBezTo>
                  <a:close/>
                </a:path>
              </a:pathLst>
            </a:custGeom>
            <a:solidFill>
              <a:srgbClr val="0070C0"/>
            </a:solidFill>
            <a:ln w="16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D7E21BD-3492-40D2-B673-580C17B68C73}"/>
                </a:ext>
              </a:extLst>
            </p:cNvPr>
            <p:cNvSpPr/>
            <p:nvPr/>
          </p:nvSpPr>
          <p:spPr>
            <a:xfrm>
              <a:off x="3690367" y="1839454"/>
              <a:ext cx="2336646" cy="4166693"/>
            </a:xfrm>
            <a:custGeom>
              <a:avLst/>
              <a:gdLst>
                <a:gd name="connsiteX0" fmla="*/ 1010278 w 1010660"/>
                <a:gd name="connsiteY0" fmla="*/ 1613160 h 1802203"/>
                <a:gd name="connsiteX1" fmla="*/ 998557 w 1010660"/>
                <a:gd name="connsiteY1" fmla="*/ 1603308 h 1802203"/>
                <a:gd name="connsiteX2" fmla="*/ 990404 w 1010660"/>
                <a:gd name="connsiteY2" fmla="*/ 1596344 h 1802203"/>
                <a:gd name="connsiteX3" fmla="*/ 988536 w 1010660"/>
                <a:gd name="connsiteY3" fmla="*/ 1584624 h 1802203"/>
                <a:gd name="connsiteX4" fmla="*/ 968322 w 1010660"/>
                <a:gd name="connsiteY4" fmla="*/ 1564241 h 1802203"/>
                <a:gd name="connsiteX5" fmla="*/ 871163 w 1010660"/>
                <a:gd name="connsiteY5" fmla="*/ 1548444 h 1802203"/>
                <a:gd name="connsiteX6" fmla="*/ 749714 w 1010660"/>
                <a:gd name="connsiteY6" fmla="*/ 1529589 h 1802203"/>
                <a:gd name="connsiteX7" fmla="*/ 717101 w 1010660"/>
                <a:gd name="connsiteY7" fmla="*/ 1522625 h 1802203"/>
                <a:gd name="connsiteX8" fmla="*/ 717441 w 1010660"/>
                <a:gd name="connsiteY8" fmla="*/ 1520417 h 1802203"/>
                <a:gd name="connsiteX9" fmla="*/ 740032 w 1010660"/>
                <a:gd name="connsiteY9" fmla="*/ 1517020 h 1802203"/>
                <a:gd name="connsiteX10" fmla="*/ 743769 w 1010660"/>
                <a:gd name="connsiteY10" fmla="*/ 1518379 h 1802203"/>
                <a:gd name="connsiteX11" fmla="*/ 750563 w 1010660"/>
                <a:gd name="connsiteY11" fmla="*/ 1523474 h 1802203"/>
                <a:gd name="connsiteX12" fmla="*/ 804069 w 1010660"/>
                <a:gd name="connsiteY12" fmla="*/ 1521946 h 1802203"/>
                <a:gd name="connsiteX13" fmla="*/ 813581 w 1010660"/>
                <a:gd name="connsiteY13" fmla="*/ 1509036 h 1802203"/>
                <a:gd name="connsiteX14" fmla="*/ 816129 w 1010660"/>
                <a:gd name="connsiteY14" fmla="*/ 1490522 h 1802203"/>
                <a:gd name="connsiteX15" fmla="*/ 806277 w 1010660"/>
                <a:gd name="connsiteY15" fmla="*/ 1469459 h 1802203"/>
                <a:gd name="connsiteX16" fmla="*/ 798124 w 1010660"/>
                <a:gd name="connsiteY16" fmla="*/ 1455871 h 1802203"/>
                <a:gd name="connsiteX17" fmla="*/ 797274 w 1010660"/>
                <a:gd name="connsiteY17" fmla="*/ 1445849 h 1802203"/>
                <a:gd name="connsiteX18" fmla="*/ 786064 w 1010660"/>
                <a:gd name="connsiteY18" fmla="*/ 1441772 h 1802203"/>
                <a:gd name="connsiteX19" fmla="*/ 758037 w 1010660"/>
                <a:gd name="connsiteY19" fmla="*/ 1457739 h 1802203"/>
                <a:gd name="connsiteX20" fmla="*/ 698586 w 1010660"/>
                <a:gd name="connsiteY20" fmla="*/ 1490012 h 1802203"/>
                <a:gd name="connsiteX21" fmla="*/ 685507 w 1010660"/>
                <a:gd name="connsiteY21" fmla="*/ 1481859 h 1802203"/>
                <a:gd name="connsiteX22" fmla="*/ 683299 w 1010660"/>
                <a:gd name="connsiteY22" fmla="*/ 1417313 h 1802203"/>
                <a:gd name="connsiteX23" fmla="*/ 692302 w 1010660"/>
                <a:gd name="connsiteY23" fmla="*/ 1403214 h 1802203"/>
                <a:gd name="connsiteX24" fmla="*/ 708608 w 1010660"/>
                <a:gd name="connsiteY24" fmla="*/ 1399138 h 1802203"/>
                <a:gd name="connsiteX25" fmla="*/ 784875 w 1010660"/>
                <a:gd name="connsiteY25" fmla="*/ 1387417 h 1802203"/>
                <a:gd name="connsiteX26" fmla="*/ 833794 w 1010660"/>
                <a:gd name="connsiteY26" fmla="*/ 1365675 h 1802203"/>
                <a:gd name="connsiteX27" fmla="*/ 910231 w 1010660"/>
                <a:gd name="connsiteY27" fmla="*/ 1264100 h 1802203"/>
                <a:gd name="connsiteX28" fmla="*/ 935540 w 1010660"/>
                <a:gd name="connsiteY28" fmla="*/ 1186474 h 1802203"/>
                <a:gd name="connsiteX29" fmla="*/ 939616 w 1010660"/>
                <a:gd name="connsiteY29" fmla="*/ 1178661 h 1802203"/>
                <a:gd name="connsiteX30" fmla="*/ 960679 w 1010660"/>
                <a:gd name="connsiteY30" fmla="*/ 1157768 h 1802203"/>
                <a:gd name="connsiteX31" fmla="*/ 976646 w 1010660"/>
                <a:gd name="connsiteY31" fmla="*/ 1104602 h 1802203"/>
                <a:gd name="connsiteX32" fmla="*/ 958301 w 1010660"/>
                <a:gd name="connsiteY32" fmla="*/ 973301 h 1802203"/>
                <a:gd name="connsiteX33" fmla="*/ 956942 w 1010660"/>
                <a:gd name="connsiteY33" fmla="*/ 961751 h 1802203"/>
                <a:gd name="connsiteX34" fmla="*/ 957451 w 1010660"/>
                <a:gd name="connsiteY34" fmla="*/ 937970 h 1802203"/>
                <a:gd name="connsiteX35" fmla="*/ 957961 w 1010660"/>
                <a:gd name="connsiteY35" fmla="*/ 901281 h 1802203"/>
                <a:gd name="connsiteX36" fmla="*/ 957621 w 1010660"/>
                <a:gd name="connsiteY36" fmla="*/ 891259 h 1802203"/>
                <a:gd name="connsiteX37" fmla="*/ 957112 w 1010660"/>
                <a:gd name="connsiteY37" fmla="*/ 861364 h 1802203"/>
                <a:gd name="connsiteX38" fmla="*/ 959829 w 1010660"/>
                <a:gd name="connsiteY38" fmla="*/ 813804 h 1802203"/>
                <a:gd name="connsiteX39" fmla="*/ 962547 w 1010660"/>
                <a:gd name="connsiteY39" fmla="*/ 801064 h 1802203"/>
                <a:gd name="connsiteX40" fmla="*/ 953205 w 1010660"/>
                <a:gd name="connsiteY40" fmla="*/ 776435 h 1802203"/>
                <a:gd name="connsiteX41" fmla="*/ 944882 w 1010660"/>
                <a:gd name="connsiteY41" fmla="*/ 774566 h 1802203"/>
                <a:gd name="connsiteX42" fmla="*/ 930784 w 1010660"/>
                <a:gd name="connsiteY42" fmla="*/ 756561 h 1802203"/>
                <a:gd name="connsiteX43" fmla="*/ 931463 w 1010660"/>
                <a:gd name="connsiteY43" fmla="*/ 743822 h 1802203"/>
                <a:gd name="connsiteX44" fmla="*/ 939107 w 1010660"/>
                <a:gd name="connsiteY44" fmla="*/ 650059 h 1802203"/>
                <a:gd name="connsiteX45" fmla="*/ 916685 w 1010660"/>
                <a:gd name="connsiteY45" fmla="*/ 635112 h 1802203"/>
                <a:gd name="connsiteX46" fmla="*/ 902077 w 1010660"/>
                <a:gd name="connsiteY46" fmla="*/ 624581 h 1802203"/>
                <a:gd name="connsiteX47" fmla="*/ 902417 w 1010660"/>
                <a:gd name="connsiteY47" fmla="*/ 621183 h 1802203"/>
                <a:gd name="connsiteX48" fmla="*/ 907173 w 1010660"/>
                <a:gd name="connsiteY48" fmla="*/ 545087 h 1802203"/>
                <a:gd name="connsiteX49" fmla="*/ 896132 w 1010660"/>
                <a:gd name="connsiteY49" fmla="*/ 478162 h 1802203"/>
                <a:gd name="connsiteX50" fmla="*/ 888489 w 1010660"/>
                <a:gd name="connsiteY50" fmla="*/ 462195 h 1802203"/>
                <a:gd name="connsiteX51" fmla="*/ 887300 w 1010660"/>
                <a:gd name="connsiteY51" fmla="*/ 448267 h 1802203"/>
                <a:gd name="connsiteX52" fmla="*/ 891376 w 1010660"/>
                <a:gd name="connsiteY52" fmla="*/ 426355 h 1802203"/>
                <a:gd name="connsiteX53" fmla="*/ 908702 w 1010660"/>
                <a:gd name="connsiteY53" fmla="*/ 416333 h 1802203"/>
                <a:gd name="connsiteX54" fmla="*/ 919233 w 1010660"/>
                <a:gd name="connsiteY54" fmla="*/ 418881 h 1802203"/>
                <a:gd name="connsiteX55" fmla="*/ 913798 w 1010660"/>
                <a:gd name="connsiteY55" fmla="*/ 397819 h 1802203"/>
                <a:gd name="connsiteX56" fmla="*/ 915836 w 1010660"/>
                <a:gd name="connsiteY56" fmla="*/ 361129 h 1802203"/>
                <a:gd name="connsiteX57" fmla="*/ 915157 w 1010660"/>
                <a:gd name="connsiteY57" fmla="*/ 340067 h 1802203"/>
                <a:gd name="connsiteX58" fmla="*/ 933501 w 1010660"/>
                <a:gd name="connsiteY58" fmla="*/ 275520 h 1802203"/>
                <a:gd name="connsiteX59" fmla="*/ 941315 w 1010660"/>
                <a:gd name="connsiteY59" fmla="*/ 225922 h 1802203"/>
                <a:gd name="connsiteX60" fmla="*/ 940635 w 1010660"/>
                <a:gd name="connsiteY60" fmla="*/ 202141 h 1802203"/>
                <a:gd name="connsiteX61" fmla="*/ 934521 w 1010660"/>
                <a:gd name="connsiteY61" fmla="*/ 161205 h 1802203"/>
                <a:gd name="connsiteX62" fmla="*/ 920592 w 1010660"/>
                <a:gd name="connsiteY62" fmla="*/ 124006 h 1802203"/>
                <a:gd name="connsiteX63" fmla="*/ 914477 w 1010660"/>
                <a:gd name="connsiteY63" fmla="*/ 105661 h 1802203"/>
                <a:gd name="connsiteX64" fmla="*/ 893415 w 1010660"/>
                <a:gd name="connsiteY64" fmla="*/ 67783 h 1802203"/>
                <a:gd name="connsiteX65" fmla="*/ 792858 w 1010660"/>
                <a:gd name="connsiteY65" fmla="*/ 9 h 1802203"/>
                <a:gd name="connsiteX66" fmla="*/ 773834 w 1010660"/>
                <a:gd name="connsiteY66" fmla="*/ 8332 h 1802203"/>
                <a:gd name="connsiteX67" fmla="*/ 760415 w 1010660"/>
                <a:gd name="connsiteY67" fmla="*/ 28885 h 1802203"/>
                <a:gd name="connsiteX68" fmla="*/ 741221 w 1010660"/>
                <a:gd name="connsiteY68" fmla="*/ 35849 h 1802203"/>
                <a:gd name="connsiteX69" fmla="*/ 724235 w 1010660"/>
                <a:gd name="connsiteY69" fmla="*/ 30923 h 1802203"/>
                <a:gd name="connsiteX70" fmla="*/ 656801 w 1010660"/>
                <a:gd name="connsiteY70" fmla="*/ 30074 h 1802203"/>
                <a:gd name="connsiteX71" fmla="*/ 585630 w 1010660"/>
                <a:gd name="connsiteY71" fmla="*/ 72029 h 1802203"/>
                <a:gd name="connsiteX72" fmla="*/ 566946 w 1010660"/>
                <a:gd name="connsiteY72" fmla="*/ 104812 h 1802203"/>
                <a:gd name="connsiteX73" fmla="*/ 560491 w 1010660"/>
                <a:gd name="connsiteY73" fmla="*/ 189232 h 1802203"/>
                <a:gd name="connsiteX74" fmla="*/ 563209 w 1010660"/>
                <a:gd name="connsiteY74" fmla="*/ 206558 h 1802203"/>
                <a:gd name="connsiteX75" fmla="*/ 563379 w 1010660"/>
                <a:gd name="connsiteY75" fmla="*/ 259554 h 1802203"/>
                <a:gd name="connsiteX76" fmla="*/ 561340 w 1010660"/>
                <a:gd name="connsiteY76" fmla="*/ 276370 h 1802203"/>
                <a:gd name="connsiteX77" fmla="*/ 570853 w 1010660"/>
                <a:gd name="connsiteY77" fmla="*/ 288260 h 1802203"/>
                <a:gd name="connsiteX78" fmla="*/ 584781 w 1010660"/>
                <a:gd name="connsiteY78" fmla="*/ 303887 h 1802203"/>
                <a:gd name="connsiteX79" fmla="*/ 590386 w 1010660"/>
                <a:gd name="connsiteY79" fmla="*/ 312380 h 1802203"/>
                <a:gd name="connsiteX80" fmla="*/ 601937 w 1010660"/>
                <a:gd name="connsiteY80" fmla="*/ 335311 h 1802203"/>
                <a:gd name="connsiteX81" fmla="*/ 603635 w 1010660"/>
                <a:gd name="connsiteY81" fmla="*/ 341595 h 1802203"/>
                <a:gd name="connsiteX82" fmla="*/ 616205 w 1010660"/>
                <a:gd name="connsiteY82" fmla="*/ 359940 h 1802203"/>
                <a:gd name="connsiteX83" fmla="*/ 637947 w 1010660"/>
                <a:gd name="connsiteY83" fmla="*/ 374888 h 1802203"/>
                <a:gd name="connsiteX84" fmla="*/ 660708 w 1010660"/>
                <a:gd name="connsiteY84" fmla="*/ 372510 h 1802203"/>
                <a:gd name="connsiteX85" fmla="*/ 685168 w 1010660"/>
                <a:gd name="connsiteY85" fmla="*/ 382362 h 1802203"/>
                <a:gd name="connsiteX86" fmla="*/ 698247 w 1010660"/>
                <a:gd name="connsiteY86" fmla="*/ 402065 h 1802203"/>
                <a:gd name="connsiteX87" fmla="*/ 694680 w 1010660"/>
                <a:gd name="connsiteY87" fmla="*/ 422788 h 1802203"/>
                <a:gd name="connsiteX88" fmla="*/ 690603 w 1010660"/>
                <a:gd name="connsiteY88" fmla="*/ 425846 h 1802203"/>
                <a:gd name="connsiteX89" fmla="*/ 656971 w 1010660"/>
                <a:gd name="connsiteY89" fmla="*/ 466442 h 1802203"/>
                <a:gd name="connsiteX90" fmla="*/ 637607 w 1010660"/>
                <a:gd name="connsiteY90" fmla="*/ 500414 h 1802203"/>
                <a:gd name="connsiteX91" fmla="*/ 635229 w 1010660"/>
                <a:gd name="connsiteY91" fmla="*/ 507378 h 1802203"/>
                <a:gd name="connsiteX92" fmla="*/ 628605 w 1010660"/>
                <a:gd name="connsiteY92" fmla="*/ 536084 h 1802203"/>
                <a:gd name="connsiteX93" fmla="*/ 601597 w 1010660"/>
                <a:gd name="connsiteY93" fmla="*/ 588910 h 1802203"/>
                <a:gd name="connsiteX94" fmla="*/ 576118 w 1010660"/>
                <a:gd name="connsiteY94" fmla="*/ 666876 h 1802203"/>
                <a:gd name="connsiteX95" fmla="*/ 566776 w 1010660"/>
                <a:gd name="connsiteY95" fmla="*/ 710699 h 1802203"/>
                <a:gd name="connsiteX96" fmla="*/ 552847 w 1010660"/>
                <a:gd name="connsiteY96" fmla="*/ 799535 h 1802203"/>
                <a:gd name="connsiteX97" fmla="*/ 547582 w 1010660"/>
                <a:gd name="connsiteY97" fmla="*/ 812784 h 1802203"/>
                <a:gd name="connsiteX98" fmla="*/ 532804 w 1010660"/>
                <a:gd name="connsiteY98" fmla="*/ 815332 h 1802203"/>
                <a:gd name="connsiteX99" fmla="*/ 491189 w 1010660"/>
                <a:gd name="connsiteY99" fmla="*/ 818220 h 1802203"/>
                <a:gd name="connsiteX100" fmla="*/ 458406 w 1010660"/>
                <a:gd name="connsiteY100" fmla="*/ 835885 h 1802203"/>
                <a:gd name="connsiteX101" fmla="*/ 411015 w 1010660"/>
                <a:gd name="connsiteY101" fmla="*/ 853720 h 1802203"/>
                <a:gd name="connsiteX102" fmla="*/ 394199 w 1010660"/>
                <a:gd name="connsiteY102" fmla="*/ 854400 h 1802203"/>
                <a:gd name="connsiteX103" fmla="*/ 375345 w 1010660"/>
                <a:gd name="connsiteY103" fmla="*/ 856948 h 1802203"/>
                <a:gd name="connsiteX104" fmla="*/ 367361 w 1010660"/>
                <a:gd name="connsiteY104" fmla="*/ 858646 h 1802203"/>
                <a:gd name="connsiteX105" fmla="*/ 355471 w 1010660"/>
                <a:gd name="connsiteY105" fmla="*/ 859156 h 1802203"/>
                <a:gd name="connsiteX106" fmla="*/ 346469 w 1010660"/>
                <a:gd name="connsiteY106" fmla="*/ 866800 h 1802203"/>
                <a:gd name="connsiteX107" fmla="*/ 318102 w 1010660"/>
                <a:gd name="connsiteY107" fmla="*/ 884125 h 1802203"/>
                <a:gd name="connsiteX108" fmla="*/ 274788 w 1010660"/>
                <a:gd name="connsiteY108" fmla="*/ 891259 h 1802203"/>
                <a:gd name="connsiteX109" fmla="*/ 219754 w 1010660"/>
                <a:gd name="connsiteY109" fmla="*/ 894487 h 1802203"/>
                <a:gd name="connsiteX110" fmla="*/ 211771 w 1010660"/>
                <a:gd name="connsiteY110" fmla="*/ 889391 h 1802203"/>
                <a:gd name="connsiteX111" fmla="*/ 186801 w 1010660"/>
                <a:gd name="connsiteY111" fmla="*/ 833677 h 1802203"/>
                <a:gd name="connsiteX112" fmla="*/ 87094 w 1010660"/>
                <a:gd name="connsiteY112" fmla="*/ 610992 h 1802203"/>
                <a:gd name="connsiteX113" fmla="*/ 76393 w 1010660"/>
                <a:gd name="connsiteY113" fmla="*/ 607255 h 1802203"/>
                <a:gd name="connsiteX114" fmla="*/ 5222 w 1010660"/>
                <a:gd name="connsiteY114" fmla="*/ 643095 h 1802203"/>
                <a:gd name="connsiteX115" fmla="*/ 1655 w 1010660"/>
                <a:gd name="connsiteY115" fmla="*/ 654306 h 1802203"/>
                <a:gd name="connsiteX116" fmla="*/ 35117 w 1010660"/>
                <a:gd name="connsiteY116" fmla="*/ 727515 h 1802203"/>
                <a:gd name="connsiteX117" fmla="*/ 141789 w 1010660"/>
                <a:gd name="connsiteY117" fmla="*/ 969394 h 1802203"/>
                <a:gd name="connsiteX118" fmla="*/ 138561 w 1010660"/>
                <a:gd name="connsiteY118" fmla="*/ 994194 h 1802203"/>
                <a:gd name="connsiteX119" fmla="*/ 135334 w 1010660"/>
                <a:gd name="connsiteY119" fmla="*/ 999969 h 1802203"/>
                <a:gd name="connsiteX120" fmla="*/ 125143 w 1010660"/>
                <a:gd name="connsiteY120" fmla="*/ 1013897 h 1802203"/>
                <a:gd name="connsiteX121" fmla="*/ 96436 w 1010660"/>
                <a:gd name="connsiteY121" fmla="*/ 1073178 h 1802203"/>
                <a:gd name="connsiteX122" fmla="*/ 96946 w 1010660"/>
                <a:gd name="connsiteY122" fmla="*/ 1119040 h 1802203"/>
                <a:gd name="connsiteX123" fmla="*/ 98305 w 1010660"/>
                <a:gd name="connsiteY123" fmla="*/ 1129062 h 1802203"/>
                <a:gd name="connsiteX124" fmla="*/ 105779 w 1010660"/>
                <a:gd name="connsiteY124" fmla="*/ 1168979 h 1802203"/>
                <a:gd name="connsiteX125" fmla="*/ 120726 w 1010660"/>
                <a:gd name="connsiteY125" fmla="*/ 1260872 h 1802203"/>
                <a:gd name="connsiteX126" fmla="*/ 157076 w 1010660"/>
                <a:gd name="connsiteY126" fmla="*/ 1380793 h 1802203"/>
                <a:gd name="connsiteX127" fmla="*/ 171514 w 1010660"/>
                <a:gd name="connsiteY127" fmla="*/ 1439224 h 1802203"/>
                <a:gd name="connsiteX128" fmla="*/ 162512 w 1010660"/>
                <a:gd name="connsiteY128" fmla="*/ 1504110 h 1802203"/>
                <a:gd name="connsiteX129" fmla="*/ 140430 w 1010660"/>
                <a:gd name="connsiteY129" fmla="*/ 1544197 h 1802203"/>
                <a:gd name="connsiteX130" fmla="*/ 123274 w 1010660"/>
                <a:gd name="connsiteY130" fmla="*/ 1557786 h 1802203"/>
                <a:gd name="connsiteX131" fmla="*/ 94228 w 1010660"/>
                <a:gd name="connsiteY131" fmla="*/ 1563731 h 1802203"/>
                <a:gd name="connsiteX132" fmla="*/ 85226 w 1010660"/>
                <a:gd name="connsiteY132" fmla="*/ 1569167 h 1802203"/>
                <a:gd name="connsiteX133" fmla="*/ 59917 w 1010660"/>
                <a:gd name="connsiteY133" fmla="*/ 1597533 h 1802203"/>
                <a:gd name="connsiteX134" fmla="*/ 47347 w 1010660"/>
                <a:gd name="connsiteY134" fmla="*/ 1636940 h 1802203"/>
                <a:gd name="connsiteX135" fmla="*/ 82848 w 1010660"/>
                <a:gd name="connsiteY135" fmla="*/ 1670233 h 1802203"/>
                <a:gd name="connsiteX136" fmla="*/ 168626 w 1010660"/>
                <a:gd name="connsiteY136" fmla="*/ 1675668 h 1802203"/>
                <a:gd name="connsiteX137" fmla="*/ 225699 w 1010660"/>
                <a:gd name="connsiteY137" fmla="*/ 1626239 h 1802203"/>
                <a:gd name="connsiteX138" fmla="*/ 241496 w 1010660"/>
                <a:gd name="connsiteY138" fmla="*/ 1605007 h 1802203"/>
                <a:gd name="connsiteX139" fmla="*/ 272750 w 1010660"/>
                <a:gd name="connsiteY139" fmla="*/ 1588021 h 1802203"/>
                <a:gd name="connsiteX140" fmla="*/ 282092 w 1010660"/>
                <a:gd name="connsiteY140" fmla="*/ 1593966 h 1802203"/>
                <a:gd name="connsiteX141" fmla="*/ 279884 w 1010660"/>
                <a:gd name="connsiteY141" fmla="*/ 1643055 h 1802203"/>
                <a:gd name="connsiteX142" fmla="*/ 287698 w 1010660"/>
                <a:gd name="connsiteY142" fmla="*/ 1653417 h 1802203"/>
                <a:gd name="connsiteX143" fmla="*/ 291095 w 1010660"/>
                <a:gd name="connsiteY143" fmla="*/ 1645943 h 1802203"/>
                <a:gd name="connsiteX144" fmla="*/ 292963 w 1010660"/>
                <a:gd name="connsiteY144" fmla="*/ 1604327 h 1802203"/>
                <a:gd name="connsiteX145" fmla="*/ 295681 w 1010660"/>
                <a:gd name="connsiteY145" fmla="*/ 1579188 h 1802203"/>
                <a:gd name="connsiteX146" fmla="*/ 311648 w 1010660"/>
                <a:gd name="connsiteY146" fmla="*/ 1549633 h 1802203"/>
                <a:gd name="connsiteX147" fmla="*/ 316234 w 1010660"/>
                <a:gd name="connsiteY147" fmla="*/ 1517190 h 1802203"/>
                <a:gd name="connsiteX148" fmla="*/ 316743 w 1010660"/>
                <a:gd name="connsiteY148" fmla="*/ 1507338 h 1802203"/>
                <a:gd name="connsiteX149" fmla="*/ 313686 w 1010660"/>
                <a:gd name="connsiteY149" fmla="*/ 1474385 h 1802203"/>
                <a:gd name="connsiteX150" fmla="*/ 294662 w 1010660"/>
                <a:gd name="connsiteY150" fmla="*/ 1451794 h 1802203"/>
                <a:gd name="connsiteX151" fmla="*/ 281073 w 1010660"/>
                <a:gd name="connsiteY151" fmla="*/ 1446189 h 1802203"/>
                <a:gd name="connsiteX152" fmla="*/ 272071 w 1010660"/>
                <a:gd name="connsiteY152" fmla="*/ 1439734 h 1802203"/>
                <a:gd name="connsiteX153" fmla="*/ 270542 w 1010660"/>
                <a:gd name="connsiteY153" fmla="*/ 1428863 h 1802203"/>
                <a:gd name="connsiteX154" fmla="*/ 278355 w 1010660"/>
                <a:gd name="connsiteY154" fmla="*/ 1303677 h 1802203"/>
                <a:gd name="connsiteX155" fmla="*/ 285659 w 1010660"/>
                <a:gd name="connsiteY155" fmla="*/ 1212293 h 1802203"/>
                <a:gd name="connsiteX156" fmla="*/ 280564 w 1010660"/>
                <a:gd name="connsiteY156" fmla="*/ 1182398 h 1802203"/>
                <a:gd name="connsiteX157" fmla="*/ 269862 w 1010660"/>
                <a:gd name="connsiteY157" fmla="*/ 1148596 h 1802203"/>
                <a:gd name="connsiteX158" fmla="*/ 278016 w 1010660"/>
                <a:gd name="connsiteY158" fmla="*/ 1137725 h 1802203"/>
                <a:gd name="connsiteX159" fmla="*/ 313686 w 1010660"/>
                <a:gd name="connsiteY159" fmla="*/ 1138234 h 1802203"/>
                <a:gd name="connsiteX160" fmla="*/ 323708 w 1010660"/>
                <a:gd name="connsiteY160" fmla="*/ 1148596 h 1802203"/>
                <a:gd name="connsiteX161" fmla="*/ 337296 w 1010660"/>
                <a:gd name="connsiteY161" fmla="*/ 1174414 h 1802203"/>
                <a:gd name="connsiteX162" fmla="*/ 383668 w 1010660"/>
                <a:gd name="connsiteY162" fmla="*/ 1187663 h 1802203"/>
                <a:gd name="connsiteX163" fmla="*/ 507325 w 1010660"/>
                <a:gd name="connsiteY163" fmla="*/ 1194797 h 1802203"/>
                <a:gd name="connsiteX164" fmla="*/ 517007 w 1010660"/>
                <a:gd name="connsiteY164" fmla="*/ 1204309 h 1802203"/>
                <a:gd name="connsiteX165" fmla="*/ 509194 w 1010660"/>
                <a:gd name="connsiteY165" fmla="*/ 1295524 h 1802203"/>
                <a:gd name="connsiteX166" fmla="*/ 499851 w 1010660"/>
                <a:gd name="connsiteY166" fmla="*/ 1395910 h 1802203"/>
                <a:gd name="connsiteX167" fmla="*/ 506816 w 1010660"/>
                <a:gd name="connsiteY167" fmla="*/ 1404064 h 1802203"/>
                <a:gd name="connsiteX168" fmla="*/ 593104 w 1010660"/>
                <a:gd name="connsiteY168" fmla="*/ 1408140 h 1802203"/>
                <a:gd name="connsiteX169" fmla="*/ 606693 w 1010660"/>
                <a:gd name="connsiteY169" fmla="*/ 1407970 h 1802203"/>
                <a:gd name="connsiteX170" fmla="*/ 615016 w 1010660"/>
                <a:gd name="connsiteY170" fmla="*/ 1416293 h 1802203"/>
                <a:gd name="connsiteX171" fmla="*/ 614167 w 1010660"/>
                <a:gd name="connsiteY171" fmla="*/ 1485936 h 1802203"/>
                <a:gd name="connsiteX172" fmla="*/ 610430 w 1010660"/>
                <a:gd name="connsiteY172" fmla="*/ 1490861 h 1802203"/>
                <a:gd name="connsiteX173" fmla="*/ 560831 w 1010660"/>
                <a:gd name="connsiteY173" fmla="*/ 1486105 h 1802203"/>
                <a:gd name="connsiteX174" fmla="*/ 452801 w 1010660"/>
                <a:gd name="connsiteY174" fmla="*/ 1450945 h 1802203"/>
                <a:gd name="connsiteX175" fmla="*/ 429870 w 1010660"/>
                <a:gd name="connsiteY175" fmla="*/ 1458928 h 1802203"/>
                <a:gd name="connsiteX176" fmla="*/ 428341 w 1010660"/>
                <a:gd name="connsiteY176" fmla="*/ 1467081 h 1802203"/>
                <a:gd name="connsiteX177" fmla="*/ 428171 w 1010660"/>
                <a:gd name="connsiteY177" fmla="*/ 1505300 h 1802203"/>
                <a:gd name="connsiteX178" fmla="*/ 434626 w 1010660"/>
                <a:gd name="connsiteY178" fmla="*/ 1523474 h 1802203"/>
                <a:gd name="connsiteX179" fmla="*/ 438193 w 1010660"/>
                <a:gd name="connsiteY179" fmla="*/ 1531628 h 1802203"/>
                <a:gd name="connsiteX180" fmla="*/ 448214 w 1010660"/>
                <a:gd name="connsiteY180" fmla="*/ 1551671 h 1802203"/>
                <a:gd name="connsiteX181" fmla="*/ 451611 w 1010660"/>
                <a:gd name="connsiteY181" fmla="*/ 1557956 h 1802203"/>
                <a:gd name="connsiteX182" fmla="*/ 446346 w 1010660"/>
                <a:gd name="connsiteY182" fmla="*/ 1561523 h 1802203"/>
                <a:gd name="connsiteX183" fmla="*/ 350715 w 1010660"/>
                <a:gd name="connsiteY183" fmla="*/ 1584454 h 1802203"/>
                <a:gd name="connsiteX184" fmla="*/ 327954 w 1010660"/>
                <a:gd name="connsiteY184" fmla="*/ 1610782 h 1802203"/>
                <a:gd name="connsiteX185" fmla="*/ 327954 w 1010660"/>
                <a:gd name="connsiteY185" fmla="*/ 1649850 h 1802203"/>
                <a:gd name="connsiteX186" fmla="*/ 335428 w 1010660"/>
                <a:gd name="connsiteY186" fmla="*/ 1668194 h 1802203"/>
                <a:gd name="connsiteX187" fmla="*/ 346809 w 1010660"/>
                <a:gd name="connsiteY187" fmla="*/ 1688407 h 1802203"/>
                <a:gd name="connsiteX188" fmla="*/ 351904 w 1010660"/>
                <a:gd name="connsiteY188" fmla="*/ 1693673 h 1802203"/>
                <a:gd name="connsiteX189" fmla="*/ 395558 w 1010660"/>
                <a:gd name="connsiteY189" fmla="*/ 1687219 h 1802203"/>
                <a:gd name="connsiteX190" fmla="*/ 410166 w 1010660"/>
                <a:gd name="connsiteY190" fmla="*/ 1651888 h 1802203"/>
                <a:gd name="connsiteX191" fmla="*/ 398615 w 1010660"/>
                <a:gd name="connsiteY191" fmla="*/ 1632354 h 1802203"/>
                <a:gd name="connsiteX192" fmla="*/ 395388 w 1010660"/>
                <a:gd name="connsiteY192" fmla="*/ 1623182 h 1802203"/>
                <a:gd name="connsiteX193" fmla="*/ 403032 w 1010660"/>
                <a:gd name="connsiteY193" fmla="*/ 1619445 h 1802203"/>
                <a:gd name="connsiteX194" fmla="*/ 500701 w 1010660"/>
                <a:gd name="connsiteY194" fmla="*/ 1603478 h 1802203"/>
                <a:gd name="connsiteX195" fmla="*/ 566606 w 1010660"/>
                <a:gd name="connsiteY195" fmla="*/ 1591928 h 1802203"/>
                <a:gd name="connsiteX196" fmla="*/ 616205 w 1010660"/>
                <a:gd name="connsiteY196" fmla="*/ 1587341 h 1802203"/>
                <a:gd name="connsiteX197" fmla="*/ 638626 w 1010660"/>
                <a:gd name="connsiteY197" fmla="*/ 1604667 h 1802203"/>
                <a:gd name="connsiteX198" fmla="*/ 663935 w 1010660"/>
                <a:gd name="connsiteY198" fmla="*/ 1683312 h 1802203"/>
                <a:gd name="connsiteX199" fmla="*/ 667502 w 1010660"/>
                <a:gd name="connsiteY199" fmla="*/ 1731891 h 1802203"/>
                <a:gd name="connsiteX200" fmla="*/ 665634 w 1010660"/>
                <a:gd name="connsiteY200" fmla="*/ 1757200 h 1802203"/>
                <a:gd name="connsiteX201" fmla="*/ 712345 w 1010660"/>
                <a:gd name="connsiteY201" fmla="*/ 1803402 h 1802203"/>
                <a:gd name="connsiteX202" fmla="*/ 763642 w 1010660"/>
                <a:gd name="connsiteY202" fmla="*/ 1762976 h 1802203"/>
                <a:gd name="connsiteX203" fmla="*/ 760415 w 1010660"/>
                <a:gd name="connsiteY203" fmla="*/ 1742423 h 1802203"/>
                <a:gd name="connsiteX204" fmla="*/ 730860 w 1010660"/>
                <a:gd name="connsiteY204" fmla="*/ 1710319 h 1802203"/>
                <a:gd name="connsiteX205" fmla="*/ 725934 w 1010660"/>
                <a:gd name="connsiteY205" fmla="*/ 1704204 h 1802203"/>
                <a:gd name="connsiteX206" fmla="*/ 695189 w 1010660"/>
                <a:gd name="connsiteY206" fmla="*/ 1594985 h 1802203"/>
                <a:gd name="connsiteX207" fmla="*/ 705890 w 1010660"/>
                <a:gd name="connsiteY207" fmla="*/ 1581736 h 1802203"/>
                <a:gd name="connsiteX208" fmla="*/ 711835 w 1010660"/>
                <a:gd name="connsiteY208" fmla="*/ 1582246 h 1802203"/>
                <a:gd name="connsiteX209" fmla="*/ 783516 w 1010660"/>
                <a:gd name="connsiteY209" fmla="*/ 1589719 h 1802203"/>
                <a:gd name="connsiteX210" fmla="*/ 928236 w 1010660"/>
                <a:gd name="connsiteY210" fmla="*/ 1601270 h 1802203"/>
                <a:gd name="connsiteX211" fmla="*/ 942844 w 1010660"/>
                <a:gd name="connsiteY211" fmla="*/ 1623182 h 1802203"/>
                <a:gd name="connsiteX212" fmla="*/ 943353 w 1010660"/>
                <a:gd name="connsiteY212" fmla="*/ 1639488 h 1802203"/>
                <a:gd name="connsiteX213" fmla="*/ 951506 w 1010660"/>
                <a:gd name="connsiteY213" fmla="*/ 1656984 h 1802203"/>
                <a:gd name="connsiteX214" fmla="*/ 958980 w 1010660"/>
                <a:gd name="connsiteY214" fmla="*/ 1663778 h 1802203"/>
                <a:gd name="connsiteX215" fmla="*/ 989385 w 1010660"/>
                <a:gd name="connsiteY215" fmla="*/ 1666496 h 1802203"/>
                <a:gd name="connsiteX216" fmla="*/ 1002974 w 1010660"/>
                <a:gd name="connsiteY216" fmla="*/ 1659531 h 1802203"/>
                <a:gd name="connsiteX217" fmla="*/ 1010278 w 1010660"/>
                <a:gd name="connsiteY217" fmla="*/ 1613160 h 1802203"/>
                <a:gd name="connsiteX218" fmla="*/ 893245 w 1010660"/>
                <a:gd name="connsiteY218" fmla="*/ 959203 h 1802203"/>
                <a:gd name="connsiteX219" fmla="*/ 911929 w 1010660"/>
                <a:gd name="connsiteY219" fmla="*/ 957674 h 1802203"/>
                <a:gd name="connsiteX220" fmla="*/ 923310 w 1010660"/>
                <a:gd name="connsiteY220" fmla="*/ 963110 h 1802203"/>
                <a:gd name="connsiteX221" fmla="*/ 941655 w 1010660"/>
                <a:gd name="connsiteY221" fmla="*/ 1071989 h 1802203"/>
                <a:gd name="connsiteX222" fmla="*/ 943183 w 1010660"/>
                <a:gd name="connsiteY222" fmla="*/ 1086257 h 1802203"/>
                <a:gd name="connsiteX223" fmla="*/ 942504 w 1010660"/>
                <a:gd name="connsiteY223" fmla="*/ 1086257 h 1802203"/>
                <a:gd name="connsiteX224" fmla="*/ 942504 w 1010660"/>
                <a:gd name="connsiteY224" fmla="*/ 1098147 h 1802203"/>
                <a:gd name="connsiteX225" fmla="*/ 937748 w 1010660"/>
                <a:gd name="connsiteY225" fmla="*/ 1103073 h 1802203"/>
                <a:gd name="connsiteX226" fmla="*/ 932822 w 1010660"/>
                <a:gd name="connsiteY226" fmla="*/ 1098317 h 1802203"/>
                <a:gd name="connsiteX227" fmla="*/ 912269 w 1010660"/>
                <a:gd name="connsiteY227" fmla="*/ 1033261 h 1802203"/>
                <a:gd name="connsiteX228" fmla="*/ 893245 w 1010660"/>
                <a:gd name="connsiteY228" fmla="*/ 974830 h 1802203"/>
                <a:gd name="connsiteX229" fmla="*/ 888998 w 1010660"/>
                <a:gd name="connsiteY229" fmla="*/ 962940 h 1802203"/>
                <a:gd name="connsiteX230" fmla="*/ 893245 w 1010660"/>
                <a:gd name="connsiteY230" fmla="*/ 959203 h 180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</a:cxnLst>
              <a:rect l="l" t="t" r="r" b="b"/>
              <a:pathLst>
                <a:path w="1010660" h="1802203">
                  <a:moveTo>
                    <a:pt x="1010278" y="1613160"/>
                  </a:moveTo>
                  <a:cubicBezTo>
                    <a:pt x="1009089" y="1607894"/>
                    <a:pt x="1006031" y="1602459"/>
                    <a:pt x="998557" y="1603308"/>
                  </a:cubicBezTo>
                  <a:cubicBezTo>
                    <a:pt x="993801" y="1603818"/>
                    <a:pt x="991253" y="1600760"/>
                    <a:pt x="990404" y="1596344"/>
                  </a:cubicBezTo>
                  <a:cubicBezTo>
                    <a:pt x="989725" y="1592437"/>
                    <a:pt x="989215" y="1588530"/>
                    <a:pt x="988536" y="1584624"/>
                  </a:cubicBezTo>
                  <a:cubicBezTo>
                    <a:pt x="986328" y="1571545"/>
                    <a:pt x="981232" y="1566449"/>
                    <a:pt x="968322" y="1564241"/>
                  </a:cubicBezTo>
                  <a:cubicBezTo>
                    <a:pt x="935879" y="1558975"/>
                    <a:pt x="903606" y="1553540"/>
                    <a:pt x="871163" y="1548444"/>
                  </a:cubicBezTo>
                  <a:cubicBezTo>
                    <a:pt x="830737" y="1542159"/>
                    <a:pt x="790140" y="1536214"/>
                    <a:pt x="749714" y="1529589"/>
                  </a:cubicBezTo>
                  <a:cubicBezTo>
                    <a:pt x="738843" y="1527721"/>
                    <a:pt x="728821" y="1521606"/>
                    <a:pt x="717101" y="1522625"/>
                  </a:cubicBezTo>
                  <a:cubicBezTo>
                    <a:pt x="717271" y="1521946"/>
                    <a:pt x="717441" y="1521096"/>
                    <a:pt x="717441" y="1520417"/>
                  </a:cubicBezTo>
                  <a:cubicBezTo>
                    <a:pt x="724915" y="1519228"/>
                    <a:pt x="732558" y="1518039"/>
                    <a:pt x="740032" y="1517020"/>
                  </a:cubicBezTo>
                  <a:cubicBezTo>
                    <a:pt x="741391" y="1516850"/>
                    <a:pt x="743599" y="1515491"/>
                    <a:pt x="743769" y="1518379"/>
                  </a:cubicBezTo>
                  <a:cubicBezTo>
                    <a:pt x="744109" y="1522795"/>
                    <a:pt x="748015" y="1522455"/>
                    <a:pt x="750563" y="1523474"/>
                  </a:cubicBezTo>
                  <a:cubicBezTo>
                    <a:pt x="768568" y="1530099"/>
                    <a:pt x="786404" y="1525853"/>
                    <a:pt x="804069" y="1521946"/>
                  </a:cubicBezTo>
                  <a:cubicBezTo>
                    <a:pt x="810354" y="1520587"/>
                    <a:pt x="812562" y="1514981"/>
                    <a:pt x="813581" y="1509036"/>
                  </a:cubicBezTo>
                  <a:cubicBezTo>
                    <a:pt x="814600" y="1502922"/>
                    <a:pt x="815110" y="1496637"/>
                    <a:pt x="816129" y="1490522"/>
                  </a:cubicBezTo>
                  <a:cubicBezTo>
                    <a:pt x="817827" y="1479821"/>
                    <a:pt x="815789" y="1474895"/>
                    <a:pt x="806277" y="1469459"/>
                  </a:cubicBezTo>
                  <a:cubicBezTo>
                    <a:pt x="800672" y="1466402"/>
                    <a:pt x="798124" y="1462155"/>
                    <a:pt x="798124" y="1455871"/>
                  </a:cubicBezTo>
                  <a:cubicBezTo>
                    <a:pt x="798124" y="1452473"/>
                    <a:pt x="798124" y="1449076"/>
                    <a:pt x="797274" y="1445849"/>
                  </a:cubicBezTo>
                  <a:cubicBezTo>
                    <a:pt x="795576" y="1439394"/>
                    <a:pt x="791839" y="1438375"/>
                    <a:pt x="786064" y="1441772"/>
                  </a:cubicBezTo>
                  <a:cubicBezTo>
                    <a:pt x="776722" y="1447208"/>
                    <a:pt x="767549" y="1452643"/>
                    <a:pt x="758037" y="1457739"/>
                  </a:cubicBezTo>
                  <a:cubicBezTo>
                    <a:pt x="738164" y="1468440"/>
                    <a:pt x="719649" y="1481349"/>
                    <a:pt x="698586" y="1490012"/>
                  </a:cubicBezTo>
                  <a:cubicBezTo>
                    <a:pt x="689584" y="1493749"/>
                    <a:pt x="685847" y="1491201"/>
                    <a:pt x="685507" y="1481859"/>
                  </a:cubicBezTo>
                  <a:cubicBezTo>
                    <a:pt x="684828" y="1460287"/>
                    <a:pt x="683979" y="1438885"/>
                    <a:pt x="683299" y="1417313"/>
                  </a:cubicBezTo>
                  <a:cubicBezTo>
                    <a:pt x="683129" y="1410688"/>
                    <a:pt x="686526" y="1405932"/>
                    <a:pt x="692302" y="1403214"/>
                  </a:cubicBezTo>
                  <a:cubicBezTo>
                    <a:pt x="697397" y="1400836"/>
                    <a:pt x="703003" y="1399817"/>
                    <a:pt x="708608" y="1399138"/>
                  </a:cubicBezTo>
                  <a:cubicBezTo>
                    <a:pt x="734087" y="1395910"/>
                    <a:pt x="759736" y="1392853"/>
                    <a:pt x="784875" y="1387417"/>
                  </a:cubicBezTo>
                  <a:cubicBezTo>
                    <a:pt x="802710" y="1383681"/>
                    <a:pt x="820375" y="1378755"/>
                    <a:pt x="833794" y="1365675"/>
                  </a:cubicBezTo>
                  <a:cubicBezTo>
                    <a:pt x="864369" y="1335780"/>
                    <a:pt x="892565" y="1303507"/>
                    <a:pt x="910231" y="1264100"/>
                  </a:cubicBezTo>
                  <a:cubicBezTo>
                    <a:pt x="921441" y="1239300"/>
                    <a:pt x="934011" y="1214671"/>
                    <a:pt x="935540" y="1186474"/>
                  </a:cubicBezTo>
                  <a:cubicBezTo>
                    <a:pt x="935710" y="1183417"/>
                    <a:pt x="936219" y="1180020"/>
                    <a:pt x="939616" y="1178661"/>
                  </a:cubicBezTo>
                  <a:cubicBezTo>
                    <a:pt x="949468" y="1174584"/>
                    <a:pt x="955243" y="1165582"/>
                    <a:pt x="960679" y="1157768"/>
                  </a:cubicBezTo>
                  <a:cubicBezTo>
                    <a:pt x="971380" y="1142141"/>
                    <a:pt x="975626" y="1123966"/>
                    <a:pt x="976646" y="1104602"/>
                  </a:cubicBezTo>
                  <a:cubicBezTo>
                    <a:pt x="978684" y="1059590"/>
                    <a:pt x="967473" y="1016615"/>
                    <a:pt x="958301" y="973301"/>
                  </a:cubicBezTo>
                  <a:cubicBezTo>
                    <a:pt x="957451" y="969564"/>
                    <a:pt x="954904" y="965318"/>
                    <a:pt x="956942" y="961751"/>
                  </a:cubicBezTo>
                  <a:cubicBezTo>
                    <a:pt x="961698" y="953767"/>
                    <a:pt x="959150" y="945784"/>
                    <a:pt x="957451" y="937970"/>
                  </a:cubicBezTo>
                  <a:cubicBezTo>
                    <a:pt x="954904" y="925571"/>
                    <a:pt x="953545" y="913511"/>
                    <a:pt x="957961" y="901281"/>
                  </a:cubicBezTo>
                  <a:cubicBezTo>
                    <a:pt x="959150" y="897884"/>
                    <a:pt x="958980" y="894656"/>
                    <a:pt x="957621" y="891259"/>
                  </a:cubicBezTo>
                  <a:cubicBezTo>
                    <a:pt x="953884" y="881407"/>
                    <a:pt x="954054" y="871046"/>
                    <a:pt x="957112" y="861364"/>
                  </a:cubicBezTo>
                  <a:cubicBezTo>
                    <a:pt x="961868" y="845567"/>
                    <a:pt x="962547" y="829770"/>
                    <a:pt x="959829" y="813804"/>
                  </a:cubicBezTo>
                  <a:cubicBezTo>
                    <a:pt x="958980" y="809047"/>
                    <a:pt x="959660" y="804971"/>
                    <a:pt x="962547" y="801064"/>
                  </a:cubicBezTo>
                  <a:cubicBezTo>
                    <a:pt x="971210" y="789174"/>
                    <a:pt x="967813" y="780171"/>
                    <a:pt x="953205" y="776435"/>
                  </a:cubicBezTo>
                  <a:cubicBezTo>
                    <a:pt x="950487" y="775755"/>
                    <a:pt x="947600" y="775246"/>
                    <a:pt x="944882" y="774566"/>
                  </a:cubicBezTo>
                  <a:cubicBezTo>
                    <a:pt x="930953" y="770999"/>
                    <a:pt x="930614" y="770489"/>
                    <a:pt x="930784" y="756561"/>
                  </a:cubicBezTo>
                  <a:cubicBezTo>
                    <a:pt x="930784" y="752315"/>
                    <a:pt x="931293" y="748068"/>
                    <a:pt x="931463" y="743822"/>
                  </a:cubicBezTo>
                  <a:cubicBezTo>
                    <a:pt x="932992" y="712398"/>
                    <a:pt x="939786" y="681483"/>
                    <a:pt x="939107" y="650059"/>
                  </a:cubicBezTo>
                  <a:cubicBezTo>
                    <a:pt x="938767" y="637490"/>
                    <a:pt x="928406" y="630526"/>
                    <a:pt x="916685" y="635112"/>
                  </a:cubicBezTo>
                  <a:cubicBezTo>
                    <a:pt x="902587" y="640547"/>
                    <a:pt x="901228" y="639698"/>
                    <a:pt x="902077" y="624581"/>
                  </a:cubicBezTo>
                  <a:cubicBezTo>
                    <a:pt x="902077" y="623392"/>
                    <a:pt x="902247" y="622372"/>
                    <a:pt x="902417" y="621183"/>
                  </a:cubicBezTo>
                  <a:cubicBezTo>
                    <a:pt x="908702" y="596044"/>
                    <a:pt x="906154" y="570565"/>
                    <a:pt x="907173" y="545087"/>
                  </a:cubicBezTo>
                  <a:cubicBezTo>
                    <a:pt x="908022" y="521816"/>
                    <a:pt x="906324" y="499395"/>
                    <a:pt x="896132" y="478162"/>
                  </a:cubicBezTo>
                  <a:cubicBezTo>
                    <a:pt x="893584" y="472896"/>
                    <a:pt x="890697" y="467631"/>
                    <a:pt x="888489" y="462195"/>
                  </a:cubicBezTo>
                  <a:cubicBezTo>
                    <a:pt x="886620" y="457779"/>
                    <a:pt x="884412" y="452344"/>
                    <a:pt x="887300" y="448267"/>
                  </a:cubicBezTo>
                  <a:cubicBezTo>
                    <a:pt x="892396" y="441303"/>
                    <a:pt x="891376" y="433829"/>
                    <a:pt x="891376" y="426355"/>
                  </a:cubicBezTo>
                  <a:cubicBezTo>
                    <a:pt x="891376" y="415484"/>
                    <a:pt x="898850" y="411238"/>
                    <a:pt x="908702" y="416333"/>
                  </a:cubicBezTo>
                  <a:cubicBezTo>
                    <a:pt x="911759" y="417862"/>
                    <a:pt x="914817" y="420240"/>
                    <a:pt x="919233" y="418881"/>
                  </a:cubicBezTo>
                  <a:cubicBezTo>
                    <a:pt x="916515" y="411747"/>
                    <a:pt x="910401" y="405462"/>
                    <a:pt x="913798" y="397819"/>
                  </a:cubicBezTo>
                  <a:cubicBezTo>
                    <a:pt x="919233" y="385759"/>
                    <a:pt x="916855" y="373359"/>
                    <a:pt x="915836" y="361129"/>
                  </a:cubicBezTo>
                  <a:cubicBezTo>
                    <a:pt x="915326" y="354165"/>
                    <a:pt x="912779" y="346861"/>
                    <a:pt x="915157" y="340067"/>
                  </a:cubicBezTo>
                  <a:cubicBezTo>
                    <a:pt x="922460" y="318834"/>
                    <a:pt x="918724" y="294545"/>
                    <a:pt x="933501" y="275520"/>
                  </a:cubicBezTo>
                  <a:cubicBezTo>
                    <a:pt x="933841" y="258704"/>
                    <a:pt x="943693" y="243417"/>
                    <a:pt x="941315" y="225922"/>
                  </a:cubicBezTo>
                  <a:cubicBezTo>
                    <a:pt x="940296" y="218108"/>
                    <a:pt x="940805" y="210125"/>
                    <a:pt x="940635" y="202141"/>
                  </a:cubicBezTo>
                  <a:cubicBezTo>
                    <a:pt x="940466" y="188213"/>
                    <a:pt x="939616" y="173945"/>
                    <a:pt x="934521" y="161205"/>
                  </a:cubicBezTo>
                  <a:cubicBezTo>
                    <a:pt x="929765" y="148806"/>
                    <a:pt x="933162" y="133348"/>
                    <a:pt x="920592" y="124006"/>
                  </a:cubicBezTo>
                  <a:cubicBezTo>
                    <a:pt x="914307" y="119250"/>
                    <a:pt x="917704" y="111437"/>
                    <a:pt x="914477" y="105661"/>
                  </a:cubicBezTo>
                  <a:cubicBezTo>
                    <a:pt x="907683" y="93262"/>
                    <a:pt x="900379" y="80692"/>
                    <a:pt x="893415" y="67783"/>
                  </a:cubicBezTo>
                  <a:cubicBezTo>
                    <a:pt x="871673" y="27696"/>
                    <a:pt x="841098" y="1028"/>
                    <a:pt x="792858" y="9"/>
                  </a:cubicBezTo>
                  <a:cubicBezTo>
                    <a:pt x="784535" y="-161"/>
                    <a:pt x="778420" y="2047"/>
                    <a:pt x="773834" y="8332"/>
                  </a:cubicBezTo>
                  <a:cubicBezTo>
                    <a:pt x="769078" y="14957"/>
                    <a:pt x="764322" y="21751"/>
                    <a:pt x="760415" y="28885"/>
                  </a:cubicBezTo>
                  <a:cubicBezTo>
                    <a:pt x="755659" y="37718"/>
                    <a:pt x="750393" y="40266"/>
                    <a:pt x="741221" y="35849"/>
                  </a:cubicBezTo>
                  <a:cubicBezTo>
                    <a:pt x="735786" y="33132"/>
                    <a:pt x="730010" y="32112"/>
                    <a:pt x="724235" y="30923"/>
                  </a:cubicBezTo>
                  <a:cubicBezTo>
                    <a:pt x="701814" y="26677"/>
                    <a:pt x="679053" y="25828"/>
                    <a:pt x="656801" y="30074"/>
                  </a:cubicBezTo>
                  <a:cubicBezTo>
                    <a:pt x="628435" y="35510"/>
                    <a:pt x="605674" y="52156"/>
                    <a:pt x="585630" y="72029"/>
                  </a:cubicBezTo>
                  <a:cubicBezTo>
                    <a:pt x="576628" y="81032"/>
                    <a:pt x="569833" y="91903"/>
                    <a:pt x="566946" y="104812"/>
                  </a:cubicBezTo>
                  <a:cubicBezTo>
                    <a:pt x="560831" y="132669"/>
                    <a:pt x="561171" y="161035"/>
                    <a:pt x="560491" y="189232"/>
                  </a:cubicBezTo>
                  <a:cubicBezTo>
                    <a:pt x="560321" y="195347"/>
                    <a:pt x="560831" y="200952"/>
                    <a:pt x="563209" y="206558"/>
                  </a:cubicBezTo>
                  <a:cubicBezTo>
                    <a:pt x="570853" y="224223"/>
                    <a:pt x="569324" y="241888"/>
                    <a:pt x="563379" y="259554"/>
                  </a:cubicBezTo>
                  <a:cubicBezTo>
                    <a:pt x="561510" y="264989"/>
                    <a:pt x="561680" y="270764"/>
                    <a:pt x="561340" y="276370"/>
                  </a:cubicBezTo>
                  <a:cubicBezTo>
                    <a:pt x="560831" y="283334"/>
                    <a:pt x="563039" y="287750"/>
                    <a:pt x="570853" y="288260"/>
                  </a:cubicBezTo>
                  <a:cubicBezTo>
                    <a:pt x="580534" y="288939"/>
                    <a:pt x="584951" y="294205"/>
                    <a:pt x="584781" y="303887"/>
                  </a:cubicBezTo>
                  <a:cubicBezTo>
                    <a:pt x="584781" y="307624"/>
                    <a:pt x="585970" y="311021"/>
                    <a:pt x="590386" y="312380"/>
                  </a:cubicBezTo>
                  <a:cubicBezTo>
                    <a:pt x="604654" y="317136"/>
                    <a:pt x="606353" y="320533"/>
                    <a:pt x="601937" y="335311"/>
                  </a:cubicBezTo>
                  <a:cubicBezTo>
                    <a:pt x="601087" y="338198"/>
                    <a:pt x="600918" y="339897"/>
                    <a:pt x="603635" y="341595"/>
                  </a:cubicBezTo>
                  <a:cubicBezTo>
                    <a:pt x="610599" y="345842"/>
                    <a:pt x="613827" y="352466"/>
                    <a:pt x="616205" y="359940"/>
                  </a:cubicBezTo>
                  <a:cubicBezTo>
                    <a:pt x="619772" y="370981"/>
                    <a:pt x="626227" y="375397"/>
                    <a:pt x="637947" y="374888"/>
                  </a:cubicBezTo>
                  <a:cubicBezTo>
                    <a:pt x="645590" y="374548"/>
                    <a:pt x="653234" y="373869"/>
                    <a:pt x="660708" y="372510"/>
                  </a:cubicBezTo>
                  <a:cubicBezTo>
                    <a:pt x="671239" y="370641"/>
                    <a:pt x="679222" y="374208"/>
                    <a:pt x="685168" y="382362"/>
                  </a:cubicBezTo>
                  <a:cubicBezTo>
                    <a:pt x="689924" y="388646"/>
                    <a:pt x="694000" y="395441"/>
                    <a:pt x="698247" y="402065"/>
                  </a:cubicBezTo>
                  <a:cubicBezTo>
                    <a:pt x="705381" y="413106"/>
                    <a:pt x="705041" y="414975"/>
                    <a:pt x="694680" y="422788"/>
                  </a:cubicBezTo>
                  <a:cubicBezTo>
                    <a:pt x="693321" y="423807"/>
                    <a:pt x="691962" y="424826"/>
                    <a:pt x="690603" y="425846"/>
                  </a:cubicBezTo>
                  <a:cubicBezTo>
                    <a:pt x="675995" y="436547"/>
                    <a:pt x="664954" y="450305"/>
                    <a:pt x="656971" y="466442"/>
                  </a:cubicBezTo>
                  <a:cubicBezTo>
                    <a:pt x="651196" y="478162"/>
                    <a:pt x="649327" y="492091"/>
                    <a:pt x="637607" y="500414"/>
                  </a:cubicBezTo>
                  <a:cubicBezTo>
                    <a:pt x="635399" y="501942"/>
                    <a:pt x="635908" y="505000"/>
                    <a:pt x="635229" y="507378"/>
                  </a:cubicBezTo>
                  <a:cubicBezTo>
                    <a:pt x="632851" y="516890"/>
                    <a:pt x="633021" y="527251"/>
                    <a:pt x="628605" y="536084"/>
                  </a:cubicBezTo>
                  <a:cubicBezTo>
                    <a:pt x="619942" y="553919"/>
                    <a:pt x="611449" y="571754"/>
                    <a:pt x="601597" y="588910"/>
                  </a:cubicBezTo>
                  <a:cubicBezTo>
                    <a:pt x="587499" y="613200"/>
                    <a:pt x="576798" y="638169"/>
                    <a:pt x="576118" y="666876"/>
                  </a:cubicBezTo>
                  <a:cubicBezTo>
                    <a:pt x="575778" y="681993"/>
                    <a:pt x="568474" y="695752"/>
                    <a:pt x="566776" y="710699"/>
                  </a:cubicBezTo>
                  <a:cubicBezTo>
                    <a:pt x="563209" y="740424"/>
                    <a:pt x="558453" y="769980"/>
                    <a:pt x="552847" y="799535"/>
                  </a:cubicBezTo>
                  <a:cubicBezTo>
                    <a:pt x="551998" y="804291"/>
                    <a:pt x="550300" y="808878"/>
                    <a:pt x="547582" y="812784"/>
                  </a:cubicBezTo>
                  <a:cubicBezTo>
                    <a:pt x="543505" y="818390"/>
                    <a:pt x="539768" y="819579"/>
                    <a:pt x="532804" y="815332"/>
                  </a:cubicBezTo>
                  <a:cubicBezTo>
                    <a:pt x="517177" y="805990"/>
                    <a:pt x="505457" y="802253"/>
                    <a:pt x="491189" y="818220"/>
                  </a:cubicBezTo>
                  <a:cubicBezTo>
                    <a:pt x="482866" y="827392"/>
                    <a:pt x="472334" y="835545"/>
                    <a:pt x="458406" y="835885"/>
                  </a:cubicBezTo>
                  <a:cubicBezTo>
                    <a:pt x="440571" y="836395"/>
                    <a:pt x="425114" y="844038"/>
                    <a:pt x="411015" y="853720"/>
                  </a:cubicBezTo>
                  <a:cubicBezTo>
                    <a:pt x="404391" y="858307"/>
                    <a:pt x="400654" y="861024"/>
                    <a:pt x="394199" y="854400"/>
                  </a:cubicBezTo>
                  <a:cubicBezTo>
                    <a:pt x="388424" y="848625"/>
                    <a:pt x="379761" y="850153"/>
                    <a:pt x="375345" y="856948"/>
                  </a:cubicBezTo>
                  <a:cubicBezTo>
                    <a:pt x="372967" y="860854"/>
                    <a:pt x="370249" y="861874"/>
                    <a:pt x="367361" y="858646"/>
                  </a:cubicBezTo>
                  <a:cubicBezTo>
                    <a:pt x="362945" y="853550"/>
                    <a:pt x="359208" y="855759"/>
                    <a:pt x="355471" y="859156"/>
                  </a:cubicBezTo>
                  <a:cubicBezTo>
                    <a:pt x="352414" y="861704"/>
                    <a:pt x="349526" y="864421"/>
                    <a:pt x="346469" y="866800"/>
                  </a:cubicBezTo>
                  <a:cubicBezTo>
                    <a:pt x="337806" y="873934"/>
                    <a:pt x="329143" y="882427"/>
                    <a:pt x="318102" y="884125"/>
                  </a:cubicBezTo>
                  <a:cubicBezTo>
                    <a:pt x="303664" y="886333"/>
                    <a:pt x="289566" y="890240"/>
                    <a:pt x="274788" y="891259"/>
                  </a:cubicBezTo>
                  <a:cubicBezTo>
                    <a:pt x="256444" y="892618"/>
                    <a:pt x="237929" y="891599"/>
                    <a:pt x="219754" y="894487"/>
                  </a:cubicBezTo>
                  <a:cubicBezTo>
                    <a:pt x="214998" y="895166"/>
                    <a:pt x="213469" y="893128"/>
                    <a:pt x="211771" y="889391"/>
                  </a:cubicBezTo>
                  <a:cubicBezTo>
                    <a:pt x="203617" y="870706"/>
                    <a:pt x="195124" y="852192"/>
                    <a:pt x="186801" y="833677"/>
                  </a:cubicBezTo>
                  <a:cubicBezTo>
                    <a:pt x="153509" y="759449"/>
                    <a:pt x="120047" y="685220"/>
                    <a:pt x="87094" y="610992"/>
                  </a:cubicBezTo>
                  <a:cubicBezTo>
                    <a:pt x="84207" y="604707"/>
                    <a:pt x="81998" y="604367"/>
                    <a:pt x="76393" y="607255"/>
                  </a:cubicBezTo>
                  <a:cubicBezTo>
                    <a:pt x="52783" y="619485"/>
                    <a:pt x="29172" y="631545"/>
                    <a:pt x="5222" y="643095"/>
                  </a:cubicBezTo>
                  <a:cubicBezTo>
                    <a:pt x="-1063" y="646153"/>
                    <a:pt x="-893" y="648701"/>
                    <a:pt x="1655" y="654306"/>
                  </a:cubicBezTo>
                  <a:cubicBezTo>
                    <a:pt x="13036" y="678596"/>
                    <a:pt x="23907" y="703225"/>
                    <a:pt x="35117" y="727515"/>
                  </a:cubicBezTo>
                  <a:cubicBezTo>
                    <a:pt x="71807" y="807689"/>
                    <a:pt x="107477" y="888202"/>
                    <a:pt x="141789" y="969394"/>
                  </a:cubicBezTo>
                  <a:cubicBezTo>
                    <a:pt x="145696" y="978567"/>
                    <a:pt x="147904" y="986890"/>
                    <a:pt x="138561" y="994194"/>
                  </a:cubicBezTo>
                  <a:cubicBezTo>
                    <a:pt x="136863" y="995553"/>
                    <a:pt x="135674" y="997931"/>
                    <a:pt x="135334" y="999969"/>
                  </a:cubicBezTo>
                  <a:cubicBezTo>
                    <a:pt x="133975" y="1006254"/>
                    <a:pt x="129729" y="1009991"/>
                    <a:pt x="125143" y="1013897"/>
                  </a:cubicBezTo>
                  <a:cubicBezTo>
                    <a:pt x="107138" y="1029524"/>
                    <a:pt x="94568" y="1047529"/>
                    <a:pt x="96436" y="1073178"/>
                  </a:cubicBezTo>
                  <a:cubicBezTo>
                    <a:pt x="97456" y="1088466"/>
                    <a:pt x="96776" y="1103753"/>
                    <a:pt x="96946" y="1119040"/>
                  </a:cubicBezTo>
                  <a:cubicBezTo>
                    <a:pt x="96946" y="1122437"/>
                    <a:pt x="97286" y="1125835"/>
                    <a:pt x="98305" y="1129062"/>
                  </a:cubicBezTo>
                  <a:cubicBezTo>
                    <a:pt x="102381" y="1142141"/>
                    <a:pt x="104760" y="1155390"/>
                    <a:pt x="105779" y="1168979"/>
                  </a:cubicBezTo>
                  <a:cubicBezTo>
                    <a:pt x="108157" y="1200063"/>
                    <a:pt x="112063" y="1230977"/>
                    <a:pt x="120726" y="1260872"/>
                  </a:cubicBezTo>
                  <a:cubicBezTo>
                    <a:pt x="132277" y="1300959"/>
                    <a:pt x="144676" y="1340876"/>
                    <a:pt x="157076" y="1380793"/>
                  </a:cubicBezTo>
                  <a:cubicBezTo>
                    <a:pt x="163021" y="1399987"/>
                    <a:pt x="167268" y="1419521"/>
                    <a:pt x="171514" y="1439224"/>
                  </a:cubicBezTo>
                  <a:cubicBezTo>
                    <a:pt x="176610" y="1461985"/>
                    <a:pt x="176270" y="1483727"/>
                    <a:pt x="162512" y="1504110"/>
                  </a:cubicBezTo>
                  <a:cubicBezTo>
                    <a:pt x="154019" y="1516680"/>
                    <a:pt x="147394" y="1530609"/>
                    <a:pt x="140430" y="1544197"/>
                  </a:cubicBezTo>
                  <a:cubicBezTo>
                    <a:pt x="136693" y="1551501"/>
                    <a:pt x="131597" y="1556257"/>
                    <a:pt x="123274" y="1557786"/>
                  </a:cubicBezTo>
                  <a:cubicBezTo>
                    <a:pt x="113592" y="1559485"/>
                    <a:pt x="103910" y="1561693"/>
                    <a:pt x="94228" y="1563731"/>
                  </a:cubicBezTo>
                  <a:cubicBezTo>
                    <a:pt x="90661" y="1564580"/>
                    <a:pt x="87604" y="1565599"/>
                    <a:pt x="85226" y="1569167"/>
                  </a:cubicBezTo>
                  <a:cubicBezTo>
                    <a:pt x="78092" y="1579698"/>
                    <a:pt x="70108" y="1589550"/>
                    <a:pt x="59917" y="1597533"/>
                  </a:cubicBezTo>
                  <a:cubicBezTo>
                    <a:pt x="47007" y="1607724"/>
                    <a:pt x="44120" y="1620974"/>
                    <a:pt x="47347" y="1636940"/>
                  </a:cubicBezTo>
                  <a:cubicBezTo>
                    <a:pt x="51424" y="1656984"/>
                    <a:pt x="66202" y="1666156"/>
                    <a:pt x="82848" y="1670233"/>
                  </a:cubicBezTo>
                  <a:cubicBezTo>
                    <a:pt x="110874" y="1677197"/>
                    <a:pt x="139750" y="1680764"/>
                    <a:pt x="168626" y="1675668"/>
                  </a:cubicBezTo>
                  <a:cubicBezTo>
                    <a:pt x="197333" y="1670572"/>
                    <a:pt x="219754" y="1658003"/>
                    <a:pt x="225699" y="1626239"/>
                  </a:cubicBezTo>
                  <a:cubicBezTo>
                    <a:pt x="227398" y="1616897"/>
                    <a:pt x="233343" y="1609763"/>
                    <a:pt x="241496" y="1605007"/>
                  </a:cubicBezTo>
                  <a:cubicBezTo>
                    <a:pt x="251687" y="1599062"/>
                    <a:pt x="262389" y="1593626"/>
                    <a:pt x="272750" y="1588021"/>
                  </a:cubicBezTo>
                  <a:cubicBezTo>
                    <a:pt x="280733" y="1583774"/>
                    <a:pt x="282092" y="1584284"/>
                    <a:pt x="282092" y="1593966"/>
                  </a:cubicBezTo>
                  <a:cubicBezTo>
                    <a:pt x="282262" y="1610272"/>
                    <a:pt x="283621" y="1626749"/>
                    <a:pt x="279884" y="1643055"/>
                  </a:cubicBezTo>
                  <a:cubicBezTo>
                    <a:pt x="278355" y="1649340"/>
                    <a:pt x="284300" y="1652397"/>
                    <a:pt x="287698" y="1653417"/>
                  </a:cubicBezTo>
                  <a:cubicBezTo>
                    <a:pt x="292114" y="1654606"/>
                    <a:pt x="290925" y="1648830"/>
                    <a:pt x="291095" y="1645943"/>
                  </a:cubicBezTo>
                  <a:cubicBezTo>
                    <a:pt x="291944" y="1632184"/>
                    <a:pt x="292284" y="1618256"/>
                    <a:pt x="292963" y="1604327"/>
                  </a:cubicBezTo>
                  <a:cubicBezTo>
                    <a:pt x="293473" y="1595834"/>
                    <a:pt x="293813" y="1587511"/>
                    <a:pt x="295681" y="1579188"/>
                  </a:cubicBezTo>
                  <a:cubicBezTo>
                    <a:pt x="298229" y="1567638"/>
                    <a:pt x="305363" y="1558805"/>
                    <a:pt x="311648" y="1549633"/>
                  </a:cubicBezTo>
                  <a:cubicBezTo>
                    <a:pt x="318612" y="1539441"/>
                    <a:pt x="322349" y="1529250"/>
                    <a:pt x="316234" y="1517190"/>
                  </a:cubicBezTo>
                  <a:cubicBezTo>
                    <a:pt x="314535" y="1513962"/>
                    <a:pt x="315045" y="1510395"/>
                    <a:pt x="316743" y="1507338"/>
                  </a:cubicBezTo>
                  <a:cubicBezTo>
                    <a:pt x="323028" y="1495618"/>
                    <a:pt x="319631" y="1484916"/>
                    <a:pt x="313686" y="1474385"/>
                  </a:cubicBezTo>
                  <a:cubicBezTo>
                    <a:pt x="308760" y="1465553"/>
                    <a:pt x="300947" y="1459268"/>
                    <a:pt x="294662" y="1451794"/>
                  </a:cubicBezTo>
                  <a:cubicBezTo>
                    <a:pt x="290755" y="1447378"/>
                    <a:pt x="287528" y="1444490"/>
                    <a:pt x="281073" y="1446189"/>
                  </a:cubicBezTo>
                  <a:cubicBezTo>
                    <a:pt x="276317" y="1447378"/>
                    <a:pt x="272920" y="1444830"/>
                    <a:pt x="272071" y="1439734"/>
                  </a:cubicBezTo>
                  <a:cubicBezTo>
                    <a:pt x="271391" y="1436167"/>
                    <a:pt x="270882" y="1432430"/>
                    <a:pt x="270542" y="1428863"/>
                  </a:cubicBezTo>
                  <a:cubicBezTo>
                    <a:pt x="266975" y="1386738"/>
                    <a:pt x="275298" y="1345292"/>
                    <a:pt x="278355" y="1303677"/>
                  </a:cubicBezTo>
                  <a:cubicBezTo>
                    <a:pt x="280564" y="1273272"/>
                    <a:pt x="285829" y="1243037"/>
                    <a:pt x="285659" y="1212293"/>
                  </a:cubicBezTo>
                  <a:cubicBezTo>
                    <a:pt x="285659" y="1202101"/>
                    <a:pt x="285150" y="1191230"/>
                    <a:pt x="280564" y="1182398"/>
                  </a:cubicBezTo>
                  <a:cubicBezTo>
                    <a:pt x="274958" y="1171527"/>
                    <a:pt x="273769" y="1159806"/>
                    <a:pt x="269862" y="1148596"/>
                  </a:cubicBezTo>
                  <a:cubicBezTo>
                    <a:pt x="267315" y="1141292"/>
                    <a:pt x="270372" y="1137725"/>
                    <a:pt x="278016" y="1137725"/>
                  </a:cubicBezTo>
                  <a:cubicBezTo>
                    <a:pt x="289906" y="1137555"/>
                    <a:pt x="301796" y="1138404"/>
                    <a:pt x="313686" y="1138234"/>
                  </a:cubicBezTo>
                  <a:cubicBezTo>
                    <a:pt x="321160" y="1138064"/>
                    <a:pt x="324217" y="1140952"/>
                    <a:pt x="323708" y="1148596"/>
                  </a:cubicBezTo>
                  <a:cubicBezTo>
                    <a:pt x="323198" y="1159636"/>
                    <a:pt x="328803" y="1167280"/>
                    <a:pt x="337296" y="1174414"/>
                  </a:cubicBezTo>
                  <a:cubicBezTo>
                    <a:pt x="351055" y="1185625"/>
                    <a:pt x="368041" y="1187154"/>
                    <a:pt x="383668" y="1187663"/>
                  </a:cubicBezTo>
                  <a:cubicBezTo>
                    <a:pt x="424944" y="1189362"/>
                    <a:pt x="466049" y="1193269"/>
                    <a:pt x="507325" y="1194797"/>
                  </a:cubicBezTo>
                  <a:cubicBezTo>
                    <a:pt x="514120" y="1194967"/>
                    <a:pt x="517007" y="1197345"/>
                    <a:pt x="517007" y="1204309"/>
                  </a:cubicBezTo>
                  <a:cubicBezTo>
                    <a:pt x="516837" y="1234884"/>
                    <a:pt x="513100" y="1265289"/>
                    <a:pt x="509194" y="1295524"/>
                  </a:cubicBezTo>
                  <a:cubicBezTo>
                    <a:pt x="504947" y="1328986"/>
                    <a:pt x="502229" y="1362448"/>
                    <a:pt x="499851" y="1395910"/>
                  </a:cubicBezTo>
                  <a:cubicBezTo>
                    <a:pt x="499512" y="1401176"/>
                    <a:pt x="501210" y="1403724"/>
                    <a:pt x="506816" y="1404064"/>
                  </a:cubicBezTo>
                  <a:cubicBezTo>
                    <a:pt x="535522" y="1405592"/>
                    <a:pt x="564228" y="1410688"/>
                    <a:pt x="593104" y="1408140"/>
                  </a:cubicBezTo>
                  <a:cubicBezTo>
                    <a:pt x="597520" y="1407801"/>
                    <a:pt x="602107" y="1407970"/>
                    <a:pt x="606693" y="1407970"/>
                  </a:cubicBezTo>
                  <a:cubicBezTo>
                    <a:pt x="612128" y="1407970"/>
                    <a:pt x="615016" y="1410348"/>
                    <a:pt x="615016" y="1416293"/>
                  </a:cubicBezTo>
                  <a:cubicBezTo>
                    <a:pt x="614676" y="1439564"/>
                    <a:pt x="614506" y="1462665"/>
                    <a:pt x="614167" y="1485936"/>
                  </a:cubicBezTo>
                  <a:cubicBezTo>
                    <a:pt x="614167" y="1488484"/>
                    <a:pt x="614336" y="1491201"/>
                    <a:pt x="610430" y="1490861"/>
                  </a:cubicBezTo>
                  <a:cubicBezTo>
                    <a:pt x="593953" y="1489672"/>
                    <a:pt x="577137" y="1491541"/>
                    <a:pt x="560831" y="1486105"/>
                  </a:cubicBezTo>
                  <a:cubicBezTo>
                    <a:pt x="524991" y="1474046"/>
                    <a:pt x="488980" y="1462325"/>
                    <a:pt x="452801" y="1450945"/>
                  </a:cubicBezTo>
                  <a:cubicBezTo>
                    <a:pt x="438363" y="1446358"/>
                    <a:pt x="436154" y="1447717"/>
                    <a:pt x="429870" y="1458928"/>
                  </a:cubicBezTo>
                  <a:cubicBezTo>
                    <a:pt x="428341" y="1461646"/>
                    <a:pt x="428341" y="1464194"/>
                    <a:pt x="428341" y="1467081"/>
                  </a:cubicBezTo>
                  <a:cubicBezTo>
                    <a:pt x="428341" y="1479821"/>
                    <a:pt x="428511" y="1492560"/>
                    <a:pt x="428171" y="1505300"/>
                  </a:cubicBezTo>
                  <a:cubicBezTo>
                    <a:pt x="428001" y="1512264"/>
                    <a:pt x="428341" y="1518718"/>
                    <a:pt x="434626" y="1523474"/>
                  </a:cubicBezTo>
                  <a:cubicBezTo>
                    <a:pt x="437004" y="1525343"/>
                    <a:pt x="439042" y="1528570"/>
                    <a:pt x="438193" y="1531628"/>
                  </a:cubicBezTo>
                  <a:cubicBezTo>
                    <a:pt x="435645" y="1541479"/>
                    <a:pt x="440571" y="1547085"/>
                    <a:pt x="448214" y="1551671"/>
                  </a:cubicBezTo>
                  <a:cubicBezTo>
                    <a:pt x="450592" y="1553030"/>
                    <a:pt x="451951" y="1555238"/>
                    <a:pt x="451611" y="1557956"/>
                  </a:cubicBezTo>
                  <a:cubicBezTo>
                    <a:pt x="451272" y="1560843"/>
                    <a:pt x="448554" y="1560843"/>
                    <a:pt x="446346" y="1561523"/>
                  </a:cubicBezTo>
                  <a:cubicBezTo>
                    <a:pt x="414582" y="1569846"/>
                    <a:pt x="382988" y="1578679"/>
                    <a:pt x="350715" y="1584454"/>
                  </a:cubicBezTo>
                  <a:cubicBezTo>
                    <a:pt x="336277" y="1587002"/>
                    <a:pt x="327954" y="1598722"/>
                    <a:pt x="327954" y="1610782"/>
                  </a:cubicBezTo>
                  <a:cubicBezTo>
                    <a:pt x="327954" y="1623861"/>
                    <a:pt x="327784" y="1636770"/>
                    <a:pt x="327954" y="1649850"/>
                  </a:cubicBezTo>
                  <a:cubicBezTo>
                    <a:pt x="327954" y="1656984"/>
                    <a:pt x="330332" y="1662929"/>
                    <a:pt x="335428" y="1668194"/>
                  </a:cubicBezTo>
                  <a:cubicBezTo>
                    <a:pt x="340863" y="1673800"/>
                    <a:pt x="346639" y="1679575"/>
                    <a:pt x="346809" y="1688407"/>
                  </a:cubicBezTo>
                  <a:cubicBezTo>
                    <a:pt x="346809" y="1691125"/>
                    <a:pt x="349866" y="1692314"/>
                    <a:pt x="351904" y="1693673"/>
                  </a:cubicBezTo>
                  <a:cubicBezTo>
                    <a:pt x="363285" y="1701317"/>
                    <a:pt x="383498" y="1698259"/>
                    <a:pt x="395558" y="1687219"/>
                  </a:cubicBezTo>
                  <a:cubicBezTo>
                    <a:pt x="405919" y="1677706"/>
                    <a:pt x="408637" y="1664627"/>
                    <a:pt x="410166" y="1651888"/>
                  </a:cubicBezTo>
                  <a:cubicBezTo>
                    <a:pt x="411015" y="1643905"/>
                    <a:pt x="405070" y="1637450"/>
                    <a:pt x="398615" y="1632354"/>
                  </a:cubicBezTo>
                  <a:cubicBezTo>
                    <a:pt x="395728" y="1630146"/>
                    <a:pt x="394539" y="1626919"/>
                    <a:pt x="395388" y="1623182"/>
                  </a:cubicBezTo>
                  <a:cubicBezTo>
                    <a:pt x="396407" y="1619105"/>
                    <a:pt x="400314" y="1619785"/>
                    <a:pt x="403032" y="1619445"/>
                  </a:cubicBezTo>
                  <a:cubicBezTo>
                    <a:pt x="435645" y="1614349"/>
                    <a:pt x="468597" y="1611971"/>
                    <a:pt x="500701" y="1603478"/>
                  </a:cubicBezTo>
                  <a:cubicBezTo>
                    <a:pt x="522103" y="1597703"/>
                    <a:pt x="544694" y="1595665"/>
                    <a:pt x="566606" y="1591928"/>
                  </a:cubicBezTo>
                  <a:cubicBezTo>
                    <a:pt x="583082" y="1589210"/>
                    <a:pt x="599389" y="1584963"/>
                    <a:pt x="616205" y="1587341"/>
                  </a:cubicBezTo>
                  <a:cubicBezTo>
                    <a:pt x="626736" y="1588870"/>
                    <a:pt x="634719" y="1592947"/>
                    <a:pt x="638626" y="1604667"/>
                  </a:cubicBezTo>
                  <a:cubicBezTo>
                    <a:pt x="647629" y="1630655"/>
                    <a:pt x="655952" y="1656984"/>
                    <a:pt x="663935" y="1683312"/>
                  </a:cubicBezTo>
                  <a:cubicBezTo>
                    <a:pt x="668861" y="1699448"/>
                    <a:pt x="672938" y="1715075"/>
                    <a:pt x="667502" y="1731891"/>
                  </a:cubicBezTo>
                  <a:cubicBezTo>
                    <a:pt x="664954" y="1739875"/>
                    <a:pt x="665124" y="1748707"/>
                    <a:pt x="665634" y="1757200"/>
                  </a:cubicBezTo>
                  <a:cubicBezTo>
                    <a:pt x="666993" y="1780471"/>
                    <a:pt x="688735" y="1802043"/>
                    <a:pt x="712345" y="1803402"/>
                  </a:cubicBezTo>
                  <a:cubicBezTo>
                    <a:pt x="734257" y="1804591"/>
                    <a:pt x="759905" y="1784378"/>
                    <a:pt x="763642" y="1762976"/>
                  </a:cubicBezTo>
                  <a:cubicBezTo>
                    <a:pt x="765001" y="1755842"/>
                    <a:pt x="763642" y="1748877"/>
                    <a:pt x="760415" y="1742423"/>
                  </a:cubicBezTo>
                  <a:cubicBezTo>
                    <a:pt x="753791" y="1728664"/>
                    <a:pt x="742580" y="1719152"/>
                    <a:pt x="730860" y="1710319"/>
                  </a:cubicBezTo>
                  <a:cubicBezTo>
                    <a:pt x="728482" y="1708451"/>
                    <a:pt x="726783" y="1707092"/>
                    <a:pt x="725934" y="1704204"/>
                  </a:cubicBezTo>
                  <a:cubicBezTo>
                    <a:pt x="714553" y="1668024"/>
                    <a:pt x="702663" y="1632184"/>
                    <a:pt x="695189" y="1594985"/>
                  </a:cubicBezTo>
                  <a:cubicBezTo>
                    <a:pt x="692811" y="1583435"/>
                    <a:pt x="694000" y="1581906"/>
                    <a:pt x="705890" y="1581736"/>
                  </a:cubicBezTo>
                  <a:cubicBezTo>
                    <a:pt x="707929" y="1581736"/>
                    <a:pt x="709797" y="1582076"/>
                    <a:pt x="711835" y="1582246"/>
                  </a:cubicBezTo>
                  <a:cubicBezTo>
                    <a:pt x="735786" y="1584793"/>
                    <a:pt x="759566" y="1587681"/>
                    <a:pt x="783516" y="1589719"/>
                  </a:cubicBezTo>
                  <a:cubicBezTo>
                    <a:pt x="831756" y="1593626"/>
                    <a:pt x="879996" y="1596514"/>
                    <a:pt x="928236" y="1601270"/>
                  </a:cubicBezTo>
                  <a:cubicBezTo>
                    <a:pt x="948449" y="1603308"/>
                    <a:pt x="948449" y="1603138"/>
                    <a:pt x="942844" y="1623182"/>
                  </a:cubicBezTo>
                  <a:cubicBezTo>
                    <a:pt x="941315" y="1628617"/>
                    <a:pt x="939446" y="1634732"/>
                    <a:pt x="943353" y="1639488"/>
                  </a:cubicBezTo>
                  <a:cubicBezTo>
                    <a:pt x="947600" y="1644754"/>
                    <a:pt x="950148" y="1650529"/>
                    <a:pt x="951506" y="1656984"/>
                  </a:cubicBezTo>
                  <a:cubicBezTo>
                    <a:pt x="952356" y="1661060"/>
                    <a:pt x="954734" y="1662759"/>
                    <a:pt x="958980" y="1663778"/>
                  </a:cubicBezTo>
                  <a:cubicBezTo>
                    <a:pt x="969002" y="1665986"/>
                    <a:pt x="979193" y="1665816"/>
                    <a:pt x="989385" y="1666496"/>
                  </a:cubicBezTo>
                  <a:cubicBezTo>
                    <a:pt x="996179" y="1667005"/>
                    <a:pt x="999916" y="1664118"/>
                    <a:pt x="1002974" y="1659531"/>
                  </a:cubicBezTo>
                  <a:cubicBezTo>
                    <a:pt x="1012656" y="1645263"/>
                    <a:pt x="1014015" y="1629297"/>
                    <a:pt x="1010278" y="1613160"/>
                  </a:cubicBezTo>
                  <a:close/>
                  <a:moveTo>
                    <a:pt x="893245" y="959203"/>
                  </a:moveTo>
                  <a:cubicBezTo>
                    <a:pt x="900379" y="964808"/>
                    <a:pt x="906154" y="960732"/>
                    <a:pt x="911929" y="957674"/>
                  </a:cubicBezTo>
                  <a:cubicBezTo>
                    <a:pt x="921611" y="952748"/>
                    <a:pt x="921611" y="952578"/>
                    <a:pt x="923310" y="963110"/>
                  </a:cubicBezTo>
                  <a:cubicBezTo>
                    <a:pt x="929425" y="999459"/>
                    <a:pt x="935540" y="1035639"/>
                    <a:pt x="941655" y="1071989"/>
                  </a:cubicBezTo>
                  <a:cubicBezTo>
                    <a:pt x="942504" y="1076745"/>
                    <a:pt x="942674" y="1081501"/>
                    <a:pt x="943183" y="1086257"/>
                  </a:cubicBezTo>
                  <a:cubicBezTo>
                    <a:pt x="943013" y="1086257"/>
                    <a:pt x="942844" y="1086257"/>
                    <a:pt x="942504" y="1086257"/>
                  </a:cubicBezTo>
                  <a:cubicBezTo>
                    <a:pt x="942504" y="1090164"/>
                    <a:pt x="942674" y="1094241"/>
                    <a:pt x="942504" y="1098147"/>
                  </a:cubicBezTo>
                  <a:cubicBezTo>
                    <a:pt x="942334" y="1100865"/>
                    <a:pt x="940805" y="1103073"/>
                    <a:pt x="937748" y="1103073"/>
                  </a:cubicBezTo>
                  <a:cubicBezTo>
                    <a:pt x="934690" y="1103243"/>
                    <a:pt x="933501" y="1101205"/>
                    <a:pt x="932822" y="1098317"/>
                  </a:cubicBezTo>
                  <a:cubicBezTo>
                    <a:pt x="928066" y="1076066"/>
                    <a:pt x="919573" y="1054833"/>
                    <a:pt x="912269" y="1033261"/>
                  </a:cubicBezTo>
                  <a:cubicBezTo>
                    <a:pt x="905645" y="1013897"/>
                    <a:pt x="897152" y="995213"/>
                    <a:pt x="893245" y="974830"/>
                  </a:cubicBezTo>
                  <a:cubicBezTo>
                    <a:pt x="892565" y="970753"/>
                    <a:pt x="888828" y="967526"/>
                    <a:pt x="888998" y="962940"/>
                  </a:cubicBezTo>
                  <a:cubicBezTo>
                    <a:pt x="888998" y="960562"/>
                    <a:pt x="889508" y="956145"/>
                    <a:pt x="893245" y="959203"/>
                  </a:cubicBezTo>
                  <a:close/>
                </a:path>
              </a:pathLst>
            </a:custGeom>
            <a:solidFill>
              <a:srgbClr val="0070C0"/>
            </a:solidFill>
            <a:ln w="16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60E4F19-0B20-472D-986D-BFBD7EAB1171}"/>
              </a:ext>
            </a:extLst>
          </p:cNvPr>
          <p:cNvGrpSpPr/>
          <p:nvPr/>
        </p:nvGrpSpPr>
        <p:grpSpPr>
          <a:xfrm>
            <a:off x="300155" y="1781458"/>
            <a:ext cx="4511942" cy="4220224"/>
            <a:chOff x="29243" y="1819282"/>
            <a:chExt cx="4511942" cy="4220224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BF9A1A0-ACED-4048-B955-E897E8BE33C2}"/>
                </a:ext>
              </a:extLst>
            </p:cNvPr>
            <p:cNvGrpSpPr/>
            <p:nvPr/>
          </p:nvGrpSpPr>
          <p:grpSpPr>
            <a:xfrm>
              <a:off x="29243" y="3499616"/>
              <a:ext cx="2336964" cy="631776"/>
              <a:chOff x="2254894" y="4283314"/>
              <a:chExt cx="2357001" cy="631776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55EFA2F4-6D13-4033-B969-489F4842C8DE}"/>
                  </a:ext>
                </a:extLst>
              </p:cNvPr>
              <p:cNvSpPr txBox="1"/>
              <p:nvPr/>
            </p:nvSpPr>
            <p:spPr>
              <a:xfrm>
                <a:off x="2254894" y="4560313"/>
                <a:ext cx="2357001" cy="354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r">
                  <a:lnSpc>
                    <a:spcPct val="200000"/>
                  </a:lnSpc>
                </a:pPr>
                <a:r>
                  <a:rPr lang="en-US" sz="1000" i="1" spc="39" dirty="0">
                    <a:solidFill>
                      <a:srgbClr val="5C5C5C"/>
                    </a:solidFill>
                    <a:latin typeface="Iowan Old Style Roman"/>
                  </a:rPr>
                  <a:t>Secure Your Host Node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FAEDDA6E-8395-4CB3-9E0D-13FAE9324816}"/>
                  </a:ext>
                </a:extLst>
              </p:cNvPr>
              <p:cNvSpPr txBox="1"/>
              <p:nvPr/>
            </p:nvSpPr>
            <p:spPr>
              <a:xfrm>
                <a:off x="2254897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400" i="1" spc="39" dirty="0">
                    <a:solidFill>
                      <a:srgbClr val="5C5C5C"/>
                    </a:solidFill>
                    <a:latin typeface="Iowan Old Style Roman"/>
                  </a:rPr>
                  <a:t>Host</a:t>
                </a:r>
                <a:r>
                  <a:rPr lang="en-US" altLang="ko-KR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 </a:t>
                </a:r>
                <a:r>
                  <a:rPr lang="en-US" altLang="ko-KR" sz="1400" i="1" spc="39" dirty="0">
                    <a:solidFill>
                      <a:srgbClr val="5C5C5C"/>
                    </a:solidFill>
                    <a:latin typeface="Iowan Old Style Roman"/>
                  </a:rPr>
                  <a:t>Node</a:t>
                </a:r>
                <a:endParaRPr lang="ko-KR" altLang="en-US" sz="1400" i="1" spc="39" dirty="0">
                  <a:solidFill>
                    <a:srgbClr val="5C5C5C"/>
                  </a:solidFill>
                  <a:latin typeface="Iowan Old Style Roman"/>
                </a:endParaRPr>
              </a:p>
            </p:txBody>
          </p:sp>
        </p:grp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CCF7700-7CEF-4125-9B1E-61990A07D387}"/>
                </a:ext>
              </a:extLst>
            </p:cNvPr>
            <p:cNvSpPr/>
            <p:nvPr/>
          </p:nvSpPr>
          <p:spPr>
            <a:xfrm>
              <a:off x="3277450" y="1823747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B742A5A-FEF0-4305-9EED-2C46AEF05010}"/>
                </a:ext>
              </a:extLst>
            </p:cNvPr>
            <p:cNvSpPr/>
            <p:nvPr/>
          </p:nvSpPr>
          <p:spPr>
            <a:xfrm>
              <a:off x="2557931" y="3513507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F219CDA-EBB6-4E10-80E8-721811CF8D91}"/>
                </a:ext>
              </a:extLst>
            </p:cNvPr>
            <p:cNvSpPr/>
            <p:nvPr/>
          </p:nvSpPr>
          <p:spPr>
            <a:xfrm>
              <a:off x="3277450" y="5125106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901DED47-1ECE-425E-A984-DD5C7015883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35952" y="2675752"/>
              <a:ext cx="405233" cy="648000"/>
            </a:xfrm>
            <a:prstGeom prst="straightConnector1">
              <a:avLst/>
            </a:prstGeom>
            <a:ln w="25400">
              <a:solidFill>
                <a:schemeClr val="accent4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FEFDB6FA-228A-406D-A1AA-00B8D9B6B168}"/>
                </a:ext>
              </a:extLst>
            </p:cNvPr>
            <p:cNvCxnSpPr/>
            <p:nvPr/>
          </p:nvCxnSpPr>
          <p:spPr>
            <a:xfrm flipH="1">
              <a:off x="3515984" y="3970707"/>
              <a:ext cx="648000" cy="2"/>
            </a:xfrm>
            <a:prstGeom prst="straightConnector1">
              <a:avLst/>
            </a:prstGeom>
            <a:ln w="25400">
              <a:solidFill>
                <a:schemeClr val="accent4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434DD6B-5F23-4CC7-9E47-024A4962D2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60483" y="4947528"/>
              <a:ext cx="380702" cy="317092"/>
            </a:xfrm>
            <a:prstGeom prst="straightConnector1">
              <a:avLst/>
            </a:prstGeom>
            <a:ln w="25400">
              <a:solidFill>
                <a:schemeClr val="accent4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F76F4B0-6406-47A1-B4D3-BF1A63B59316}"/>
                </a:ext>
              </a:extLst>
            </p:cNvPr>
            <p:cNvGrpSpPr/>
            <p:nvPr/>
          </p:nvGrpSpPr>
          <p:grpSpPr>
            <a:xfrm>
              <a:off x="776883" y="1819282"/>
              <a:ext cx="2357003" cy="631776"/>
              <a:chOff x="2551705" y="4283314"/>
              <a:chExt cx="2357003" cy="631776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2796F0AA-4C66-4C30-8749-5997E9E97E70}"/>
                  </a:ext>
                </a:extLst>
              </p:cNvPr>
              <p:cNvSpPr txBox="1"/>
              <p:nvPr/>
            </p:nvSpPr>
            <p:spPr>
              <a:xfrm>
                <a:off x="2551706" y="4560313"/>
                <a:ext cx="2357002" cy="354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r">
                  <a:lnSpc>
                    <a:spcPct val="200000"/>
                  </a:lnSpc>
                </a:pPr>
                <a:r>
                  <a:rPr lang="en-US" sz="1000" i="1" spc="39" dirty="0">
                    <a:solidFill>
                      <a:srgbClr val="5C5C5C"/>
                    </a:solidFill>
                    <a:latin typeface="Iowan Old Style Roman"/>
                  </a:rPr>
                  <a:t>Secure Your Network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64EDBAA-AF9B-4E43-961A-C364E0736B32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PK" sz="1400" i="1" spc="39" dirty="0">
                    <a:solidFill>
                      <a:srgbClr val="5C5C5C"/>
                    </a:solidFill>
                    <a:latin typeface="Iowan Old Style Roman"/>
                    <a:ea typeface="Iowan Old Style Roman"/>
                    <a:cs typeface="Iowan Old Style Roman"/>
                    <a:sym typeface="Iowan Old Style Roman"/>
                  </a:rPr>
                  <a:t>Network</a:t>
                </a: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E45C7A8-61A6-4FFD-8304-6846FC691599}"/>
                </a:ext>
              </a:extLst>
            </p:cNvPr>
            <p:cNvGrpSpPr/>
            <p:nvPr/>
          </p:nvGrpSpPr>
          <p:grpSpPr>
            <a:xfrm>
              <a:off x="214685" y="5120641"/>
              <a:ext cx="2919201" cy="631776"/>
              <a:chOff x="1989507" y="4283314"/>
              <a:chExt cx="2919201" cy="631776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F1F43100-99D3-4318-B232-D60E8CCA8208}"/>
                  </a:ext>
                </a:extLst>
              </p:cNvPr>
              <p:cNvSpPr txBox="1"/>
              <p:nvPr/>
            </p:nvSpPr>
            <p:spPr>
              <a:xfrm>
                <a:off x="1989507" y="4560313"/>
                <a:ext cx="2919201" cy="354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r">
                  <a:lnSpc>
                    <a:spcPct val="200000"/>
                  </a:lnSpc>
                </a:pPr>
                <a:r>
                  <a:rPr lang="en-US" sz="1000" i="1" spc="39" dirty="0">
                    <a:solidFill>
                      <a:srgbClr val="5C5C5C"/>
                    </a:solidFill>
                    <a:latin typeface="Iowan Old Style Roman"/>
                  </a:rPr>
                  <a:t>Secure your data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D2736BA0-DE6B-4653-9D9A-BDD2810BBA1B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i="1" spc="39" dirty="0">
                    <a:solidFill>
                      <a:srgbClr val="5C5C5C"/>
                    </a:solidFill>
                    <a:latin typeface="Iowan Old Style Roman"/>
                  </a:rPr>
                  <a:t>Data</a:t>
                </a:r>
                <a:endParaRPr lang="ko-KR" altLang="en-US" sz="1400" i="1" spc="39" dirty="0">
                  <a:solidFill>
                    <a:srgbClr val="5C5C5C"/>
                  </a:solidFill>
                  <a:latin typeface="Iowan Old Style Roman"/>
                </a:endParaRPr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B9366259-0F23-4B10-825D-444C9C7BDE6B}"/>
              </a:ext>
            </a:extLst>
          </p:cNvPr>
          <p:cNvGrpSpPr/>
          <p:nvPr/>
        </p:nvGrpSpPr>
        <p:grpSpPr>
          <a:xfrm>
            <a:off x="7270961" y="1781458"/>
            <a:ext cx="4543549" cy="4246611"/>
            <a:chOff x="6871568" y="1802665"/>
            <a:chExt cx="4543549" cy="4246611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25A62DB-FA15-45E4-81C7-A16BBA07FFBB}"/>
                </a:ext>
              </a:extLst>
            </p:cNvPr>
            <p:cNvSpPr/>
            <p:nvPr/>
          </p:nvSpPr>
          <p:spPr>
            <a:xfrm>
              <a:off x="7983620" y="3508545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50A25F7-805C-4681-B95A-AE75E0E754F5}"/>
                </a:ext>
              </a:extLst>
            </p:cNvPr>
            <p:cNvSpPr/>
            <p:nvPr/>
          </p:nvSpPr>
          <p:spPr>
            <a:xfrm>
              <a:off x="7126134" y="1807130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79A4714-64D8-413B-B4E0-BED7B1E8CC93}"/>
                </a:ext>
              </a:extLst>
            </p:cNvPr>
            <p:cNvSpPr/>
            <p:nvPr/>
          </p:nvSpPr>
          <p:spPr>
            <a:xfrm>
              <a:off x="7070768" y="5134876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048BA501-0C4E-4F87-BCB3-F0462B9D5D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18505" y="2657720"/>
              <a:ext cx="338080" cy="648000"/>
            </a:xfrm>
            <a:prstGeom prst="straightConnector1">
              <a:avLst/>
            </a:prstGeom>
            <a:ln w="25400">
              <a:solidFill>
                <a:schemeClr val="accent3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FA20B7FB-3CBD-41E5-B854-FA495457D448}"/>
                </a:ext>
              </a:extLst>
            </p:cNvPr>
            <p:cNvCxnSpPr/>
            <p:nvPr/>
          </p:nvCxnSpPr>
          <p:spPr>
            <a:xfrm>
              <a:off x="7283472" y="3956794"/>
              <a:ext cx="648000" cy="2"/>
            </a:xfrm>
            <a:prstGeom prst="straightConnector1">
              <a:avLst/>
            </a:prstGeom>
            <a:ln w="25400">
              <a:solidFill>
                <a:schemeClr val="accent3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57D37E19-E43A-48ED-93A4-6CAD7263D6B7}"/>
                </a:ext>
              </a:extLst>
            </p:cNvPr>
            <p:cNvCxnSpPr>
              <a:cxnSpLocks/>
            </p:cNvCxnSpPr>
            <p:nvPr/>
          </p:nvCxnSpPr>
          <p:spPr>
            <a:xfrm>
              <a:off x="6871568" y="5037600"/>
              <a:ext cx="298306" cy="194553"/>
            </a:xfrm>
            <a:prstGeom prst="straightConnector1">
              <a:avLst/>
            </a:prstGeom>
            <a:ln w="25400">
              <a:solidFill>
                <a:schemeClr val="accent3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49FDE0F-BA24-4931-BF13-A2F894617E82}"/>
                </a:ext>
              </a:extLst>
            </p:cNvPr>
            <p:cNvGrpSpPr/>
            <p:nvPr/>
          </p:nvGrpSpPr>
          <p:grpSpPr>
            <a:xfrm>
              <a:off x="8189080" y="1802665"/>
              <a:ext cx="2485512" cy="523220"/>
              <a:chOff x="2551705" y="4283314"/>
              <a:chExt cx="2485512" cy="523220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514F56D-C080-4588-8514-72C9E0591C6C}"/>
                  </a:ext>
                </a:extLst>
              </p:cNvPr>
              <p:cNvSpPr txBox="1"/>
              <p:nvPr/>
            </p:nvSpPr>
            <p:spPr>
              <a:xfrm>
                <a:off x="2551706" y="4560313"/>
                <a:ext cx="248551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000" i="1" spc="39" dirty="0">
                    <a:solidFill>
                      <a:srgbClr val="5C5C5C"/>
                    </a:solidFill>
                    <a:latin typeface="Iowan Old Style Roman"/>
                  </a:rPr>
                  <a:t>Secure your Database</a:t>
                </a:r>
                <a:endParaRPr lang="ko-KR" altLang="en-US" sz="1000" i="1" spc="39" dirty="0">
                  <a:solidFill>
                    <a:srgbClr val="5C5C5C"/>
                  </a:solidFill>
                  <a:latin typeface="Iowan Old Style Roman"/>
                </a:endParaRP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EC49FB0-4B23-4236-90DC-0A1D1934DA6B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400" i="1" spc="39" dirty="0">
                    <a:solidFill>
                      <a:srgbClr val="5C5C5C"/>
                    </a:solidFill>
                    <a:latin typeface="Iowan Old Style Roman"/>
                  </a:rPr>
                  <a:t>Database</a:t>
                </a:r>
                <a:endParaRPr lang="ko-KR" altLang="en-US" sz="1400" i="1" spc="39" dirty="0">
                  <a:solidFill>
                    <a:srgbClr val="5C5C5C"/>
                  </a:solidFill>
                  <a:latin typeface="Iowan Old Style Roman"/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DFADCFE-697E-44DF-A214-FE4A16C7B554}"/>
                </a:ext>
              </a:extLst>
            </p:cNvPr>
            <p:cNvGrpSpPr/>
            <p:nvPr/>
          </p:nvGrpSpPr>
          <p:grpSpPr>
            <a:xfrm>
              <a:off x="9078151" y="3474372"/>
              <a:ext cx="2336966" cy="523220"/>
              <a:chOff x="2551705" y="4283314"/>
              <a:chExt cx="2357003" cy="523220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90036224-AD22-4564-AD3B-FAC992BD67C2}"/>
                  </a:ext>
                </a:extLst>
              </p:cNvPr>
              <p:cNvSpPr txBox="1"/>
              <p:nvPr/>
            </p:nvSpPr>
            <p:spPr>
              <a:xfrm>
                <a:off x="2551707" y="4560313"/>
                <a:ext cx="235700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000" i="1" spc="39" dirty="0">
                    <a:solidFill>
                      <a:srgbClr val="5C5C5C"/>
                    </a:solidFill>
                    <a:latin typeface="Iowan Old Style Roman"/>
                  </a:rPr>
                  <a:t>Secure Your Application</a:t>
                </a:r>
                <a:endParaRPr lang="ko-KR" altLang="en-US" sz="1000" i="1" spc="39" dirty="0">
                  <a:solidFill>
                    <a:srgbClr val="5C5C5C"/>
                  </a:solidFill>
                  <a:latin typeface="Iowan Old Style Roman"/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B5434942-66FD-41DE-A369-E1E7FFCE3712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400" i="1" spc="39" dirty="0">
                    <a:solidFill>
                      <a:srgbClr val="5C5C5C"/>
                    </a:solidFill>
                    <a:latin typeface="Iowan Old Style Roman"/>
                  </a:rPr>
                  <a:t>Application</a:t>
                </a:r>
                <a:endParaRPr lang="ko-KR" altLang="en-US" sz="1400" i="1" spc="39" dirty="0">
                  <a:solidFill>
                    <a:srgbClr val="5C5C5C"/>
                  </a:solidFill>
                  <a:latin typeface="Iowan Old Style Roman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A1B4DDD-097C-4BD7-B8C3-285BE6F03D0F}"/>
                </a:ext>
              </a:extLst>
            </p:cNvPr>
            <p:cNvGrpSpPr/>
            <p:nvPr/>
          </p:nvGrpSpPr>
          <p:grpSpPr>
            <a:xfrm>
              <a:off x="8189080" y="5104024"/>
              <a:ext cx="2357003" cy="523220"/>
              <a:chOff x="2551705" y="4283314"/>
              <a:chExt cx="2357003" cy="523220"/>
            </a:xfrm>
          </p:grpSpPr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948605A1-5C91-44BB-9682-1904472CA617}"/>
                  </a:ext>
                </a:extLst>
              </p:cNvPr>
              <p:cNvSpPr txBox="1"/>
              <p:nvPr/>
            </p:nvSpPr>
            <p:spPr>
              <a:xfrm>
                <a:off x="2551706" y="4560313"/>
                <a:ext cx="235700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000" i="1" spc="39" dirty="0">
                    <a:solidFill>
                      <a:srgbClr val="5C5C5C"/>
                    </a:solidFill>
                    <a:latin typeface="Iowan Old Style Roman"/>
                  </a:rPr>
                  <a:t>Secure From [Un] trusted Users</a:t>
                </a:r>
                <a:endParaRPr lang="ko-KR" altLang="en-US" sz="1000" i="1" spc="39" dirty="0">
                  <a:solidFill>
                    <a:srgbClr val="5C5C5C"/>
                  </a:solidFill>
                  <a:latin typeface="Iowan Old Style Roman"/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B4440B3-BF30-4E06-8D8D-CB6BF01AD4CF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i="1" spc="39" dirty="0">
                    <a:solidFill>
                      <a:srgbClr val="5C5C5C"/>
                    </a:solidFill>
                    <a:latin typeface="Iowan Old Style Roman"/>
                  </a:rPr>
                  <a:t>Users</a:t>
                </a:r>
              </a:p>
            </p:txBody>
          </p:sp>
        </p:grpSp>
      </p:grp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820DCF64-21F5-1D42-B0BB-080D6A9E76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 flipH="1">
            <a:off x="7759720" y="1988151"/>
            <a:ext cx="494290" cy="509943"/>
          </a:xfrm>
          <a:prstGeom prst="rect">
            <a:avLst/>
          </a:prstGeom>
        </p:spPr>
      </p:pic>
      <p:sp>
        <p:nvSpPr>
          <p:cNvPr id="70" name="Donut 8">
            <a:extLst>
              <a:ext uri="{FF2B5EF4-FFF2-40B4-BE49-F238E27FC236}">
                <a16:creationId xmlns:a16="http://schemas.microsoft.com/office/drawing/2014/main" id="{65B8DA80-9F62-3B4B-8C7A-E35CD0F71231}"/>
              </a:ext>
            </a:extLst>
          </p:cNvPr>
          <p:cNvSpPr/>
          <p:nvPr/>
        </p:nvSpPr>
        <p:spPr>
          <a:xfrm>
            <a:off x="8588479" y="3631590"/>
            <a:ext cx="486216" cy="581184"/>
          </a:xfrm>
          <a:custGeom>
            <a:avLst/>
            <a:gdLst/>
            <a:ahLst/>
            <a:cxnLst/>
            <a:rect l="l" t="t" r="r" b="b"/>
            <a:pathLst>
              <a:path w="2688046" h="3213079">
                <a:moveTo>
                  <a:pt x="1056023" y="556744"/>
                </a:moveTo>
                <a:lnTo>
                  <a:pt x="1056023" y="906412"/>
                </a:lnTo>
                <a:cubicBezTo>
                  <a:pt x="641240" y="1029807"/>
                  <a:pt x="338989" y="1414134"/>
                  <a:pt x="338989" y="1869056"/>
                </a:cubicBezTo>
                <a:cubicBezTo>
                  <a:pt x="338989" y="2424121"/>
                  <a:pt x="788958" y="2874090"/>
                  <a:pt x="1344023" y="2874090"/>
                </a:cubicBezTo>
                <a:cubicBezTo>
                  <a:pt x="1899088" y="2874090"/>
                  <a:pt x="2349057" y="2424121"/>
                  <a:pt x="2349057" y="1869056"/>
                </a:cubicBezTo>
                <a:cubicBezTo>
                  <a:pt x="2349057" y="1414134"/>
                  <a:pt x="2046806" y="1029807"/>
                  <a:pt x="1632023" y="906412"/>
                </a:cubicBezTo>
                <a:lnTo>
                  <a:pt x="1632023" y="556744"/>
                </a:lnTo>
                <a:cubicBezTo>
                  <a:pt x="2235992" y="687900"/>
                  <a:pt x="2688046" y="1225687"/>
                  <a:pt x="2688046" y="1869056"/>
                </a:cubicBezTo>
                <a:cubicBezTo>
                  <a:pt x="2688046" y="2611339"/>
                  <a:pt x="2086306" y="3213079"/>
                  <a:pt x="1344023" y="3213079"/>
                </a:cubicBezTo>
                <a:cubicBezTo>
                  <a:pt x="601740" y="3213079"/>
                  <a:pt x="0" y="2611339"/>
                  <a:pt x="0" y="1869056"/>
                </a:cubicBezTo>
                <a:cubicBezTo>
                  <a:pt x="0" y="1225687"/>
                  <a:pt x="452054" y="687900"/>
                  <a:pt x="1056023" y="556744"/>
                </a:cubicBezTo>
                <a:close/>
                <a:moveTo>
                  <a:pt x="1344023" y="0"/>
                </a:moveTo>
                <a:cubicBezTo>
                  <a:pt x="1443445" y="0"/>
                  <a:pt x="1524043" y="80598"/>
                  <a:pt x="1524043" y="180020"/>
                </a:cubicBezTo>
                <a:lnTo>
                  <a:pt x="1524043" y="1413058"/>
                </a:lnTo>
                <a:cubicBezTo>
                  <a:pt x="1524043" y="1512480"/>
                  <a:pt x="1443445" y="1593078"/>
                  <a:pt x="1344023" y="1593078"/>
                </a:cubicBezTo>
                <a:cubicBezTo>
                  <a:pt x="1244601" y="1593078"/>
                  <a:pt x="1164003" y="1512480"/>
                  <a:pt x="1164003" y="1413058"/>
                </a:cubicBezTo>
                <a:lnTo>
                  <a:pt x="1164003" y="180020"/>
                </a:lnTo>
                <a:cubicBezTo>
                  <a:pt x="1164003" y="80598"/>
                  <a:pt x="1244601" y="0"/>
                  <a:pt x="134402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pic>
        <p:nvPicPr>
          <p:cNvPr id="46" name="Graphic 45" descr="Network diagram">
            <a:extLst>
              <a:ext uri="{FF2B5EF4-FFF2-40B4-BE49-F238E27FC236}">
                <a16:creationId xmlns:a16="http://schemas.microsoft.com/office/drawing/2014/main" id="{46449A62-2A81-B844-B8B8-0851BD17B7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22635" y="1764411"/>
            <a:ext cx="914400" cy="914400"/>
          </a:xfrm>
          <a:prstGeom prst="rect">
            <a:avLst/>
          </a:prstGeom>
        </p:spPr>
      </p:pic>
      <p:pic>
        <p:nvPicPr>
          <p:cNvPr id="49" name="Graphic 48" descr="Monitor">
            <a:extLst>
              <a:ext uri="{FF2B5EF4-FFF2-40B4-BE49-F238E27FC236}">
                <a16:creationId xmlns:a16="http://schemas.microsoft.com/office/drawing/2014/main" id="{CBB13275-2E5F-E74B-BBF3-48A24FB292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96781" y="3599462"/>
            <a:ext cx="741997" cy="741997"/>
          </a:xfrm>
          <a:prstGeom prst="rect">
            <a:avLst/>
          </a:prstGeom>
        </p:spPr>
      </p:pic>
      <p:pic>
        <p:nvPicPr>
          <p:cNvPr id="62" name="Graphic 61" descr="Disk">
            <a:extLst>
              <a:ext uri="{FF2B5EF4-FFF2-40B4-BE49-F238E27FC236}">
                <a16:creationId xmlns:a16="http://schemas.microsoft.com/office/drawing/2014/main" id="{F3E6201C-FA81-4A4A-A2B2-3EE93C05CA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05739" y="5210946"/>
            <a:ext cx="643856" cy="643856"/>
          </a:xfrm>
          <a:prstGeom prst="rect">
            <a:avLst/>
          </a:prstGeom>
        </p:spPr>
      </p:pic>
      <p:pic>
        <p:nvPicPr>
          <p:cNvPr id="69" name="Graphic 68" descr="Man">
            <a:extLst>
              <a:ext uri="{FF2B5EF4-FFF2-40B4-BE49-F238E27FC236}">
                <a16:creationId xmlns:a16="http://schemas.microsoft.com/office/drawing/2014/main" id="{FA75AADA-467C-054F-870E-1809B5E7B6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25527" y="5219483"/>
            <a:ext cx="810527" cy="694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681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F3F1376-1658-C049-AFE0-F1053D23D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uthentication</a:t>
            </a:r>
          </a:p>
          <a:p>
            <a:pPr lvl="1">
              <a:lnSpc>
                <a:spcPct val="20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hich users are allowed to access the database.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uthorization</a:t>
            </a:r>
          </a:p>
          <a:p>
            <a:pPr lvl="1">
              <a:lnSpc>
                <a:spcPct val="20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hat are the user allowed to access.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counting</a:t>
            </a:r>
          </a:p>
          <a:p>
            <a:pPr lvl="1">
              <a:lnSpc>
                <a:spcPct val="20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hat the users did in the database.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PK" dirty="0"/>
          </a:p>
        </p:txBody>
      </p:sp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/>
            <a: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  <a:t>AAA – (</a:t>
            </a:r>
            <a:r>
              <a:rPr lang="en-US" sz="3000" b="1" dirty="0">
                <a:solidFill>
                  <a:srgbClr val="0070C0"/>
                </a:solidFill>
              </a:rPr>
              <a:t>A</a:t>
            </a:r>
            <a:r>
              <a:rPr lang="en-US" sz="3000" dirty="0"/>
              <a:t>uthentication, </a:t>
            </a:r>
            <a:r>
              <a:rPr lang="en-US" sz="3000" b="1" dirty="0">
                <a:solidFill>
                  <a:srgbClr val="0070C0"/>
                </a:solidFill>
              </a:rPr>
              <a:t>A</a:t>
            </a:r>
            <a:r>
              <a:rPr lang="en-US" sz="3000" dirty="0"/>
              <a:t>uthorization and </a:t>
            </a:r>
            <a:r>
              <a:rPr lang="en-US" sz="3000" b="1" dirty="0">
                <a:solidFill>
                  <a:srgbClr val="0070C0"/>
                </a:solidFill>
              </a:rPr>
              <a:t>A</a:t>
            </a:r>
            <a:r>
              <a:rPr lang="en-US" sz="3000" dirty="0"/>
              <a:t>ccounting)</a:t>
            </a:r>
            <a:endParaRPr lang="en-US" sz="3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836369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sz="3200" dirty="0">
                <a:solidFill>
                  <a:srgbClr val="0070C0"/>
                </a:solidFill>
              </a:rPr>
              <a:t>A</a:t>
            </a:r>
            <a:r>
              <a:rPr lang="en-GB" sz="3200" dirty="0"/>
              <a:t>uthentication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Google Shape;152;p16">
            <a:extLst>
              <a:ext uri="{FF2B5EF4-FFF2-40B4-BE49-F238E27FC236}">
                <a16:creationId xmlns:a16="http://schemas.microsoft.com/office/drawing/2014/main" id="{C7FA701E-79F0-2040-B261-917E857D8DCF}"/>
              </a:ext>
            </a:extLst>
          </p:cNvPr>
          <p:cNvSpPr txBox="1"/>
          <p:nvPr/>
        </p:nvSpPr>
        <p:spPr>
          <a:xfrm>
            <a:off x="136041" y="955222"/>
            <a:ext cx="11880000" cy="53024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+mj-lt"/>
              <a:buAutoNum type="arabicPeriod"/>
              <a:defRPr sz="1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3" name="Picture 2" descr="Graphical user interface, logo&#10;&#10;Description automatically generated">
            <a:extLst>
              <a:ext uri="{FF2B5EF4-FFF2-40B4-BE49-F238E27FC236}">
                <a16:creationId xmlns:a16="http://schemas.microsoft.com/office/drawing/2014/main" id="{974BC5B7-FC71-9240-8EDF-27C07075D8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527916" y="2569379"/>
            <a:ext cx="2577110" cy="1182936"/>
          </a:xfrm>
          <a:prstGeom prst="rect">
            <a:avLst/>
          </a:prstGeom>
        </p:spPr>
      </p:pic>
      <p:pic>
        <p:nvPicPr>
          <p:cNvPr id="6" name="Picture 5" descr="Text, logo&#10;&#10;Description automatically generated">
            <a:extLst>
              <a:ext uri="{FF2B5EF4-FFF2-40B4-BE49-F238E27FC236}">
                <a16:creationId xmlns:a16="http://schemas.microsoft.com/office/drawing/2014/main" id="{1876E993-AB1D-DA49-9F5D-EF5147F012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9557569" y="3035012"/>
            <a:ext cx="2016897" cy="995843"/>
          </a:xfrm>
          <a:prstGeom prst="rect">
            <a:avLst/>
          </a:prstGeom>
        </p:spPr>
      </p:pic>
      <p:pic>
        <p:nvPicPr>
          <p:cNvPr id="10" name="Picture 9" descr="A picture containing shape&#10;&#10;Description automatically generated">
            <a:extLst>
              <a:ext uri="{FF2B5EF4-FFF2-40B4-BE49-F238E27FC236}">
                <a16:creationId xmlns:a16="http://schemas.microsoft.com/office/drawing/2014/main" id="{016755A2-6D95-1848-8814-455D85163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9765337" y="4563047"/>
            <a:ext cx="1905000" cy="444500"/>
          </a:xfrm>
          <a:prstGeom prst="rect">
            <a:avLst/>
          </a:prstGeom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0B645293-A60C-044D-BDA2-13B276C123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9826201" y="1544739"/>
            <a:ext cx="1479635" cy="128235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D5796E8-47E8-3249-8B45-80404216ACCC}"/>
              </a:ext>
            </a:extLst>
          </p:cNvPr>
          <p:cNvSpPr txBox="1"/>
          <p:nvPr/>
        </p:nvSpPr>
        <p:spPr>
          <a:xfrm>
            <a:off x="8467682" y="8405703"/>
            <a:ext cx="968928" cy="5180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PK" sz="900">
                <a:hlinkClick r:id="rId10" tooltip="https://simple.wikipedia.org/wiki/Windows_2000"/>
              </a:rPr>
              <a:t>This Photo</a:t>
            </a:r>
            <a:r>
              <a:rPr lang="en-PK" sz="900"/>
              <a:t> by Unknown Author is licensed under </a:t>
            </a:r>
            <a:r>
              <a:rPr lang="en-PK" sz="900">
                <a:hlinkClick r:id="rId11" tooltip="https://creativecommons.org/licenses/by-sa/3.0/"/>
              </a:rPr>
              <a:t>CC BY-SA</a:t>
            </a:r>
            <a:endParaRPr lang="en-PK" sz="900"/>
          </a:p>
        </p:txBody>
      </p:sp>
      <p:pic>
        <p:nvPicPr>
          <p:cNvPr id="16" name="Graphic 15" descr="Users">
            <a:extLst>
              <a:ext uri="{FF2B5EF4-FFF2-40B4-BE49-F238E27FC236}">
                <a16:creationId xmlns:a16="http://schemas.microsoft.com/office/drawing/2014/main" id="{4A24714D-17C8-804C-A294-97A75639412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81600" y="5246634"/>
            <a:ext cx="914400" cy="914400"/>
          </a:xfrm>
          <a:prstGeom prst="rect">
            <a:avLst/>
          </a:prstGeom>
        </p:spPr>
      </p:pic>
      <p:pic>
        <p:nvPicPr>
          <p:cNvPr id="18" name="Graphic 17" descr="Server">
            <a:extLst>
              <a:ext uri="{FF2B5EF4-FFF2-40B4-BE49-F238E27FC236}">
                <a16:creationId xmlns:a16="http://schemas.microsoft.com/office/drawing/2014/main" id="{1964CBAA-19C3-D14F-B8DF-BAB397C021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03198" y="1654979"/>
            <a:ext cx="914400" cy="914400"/>
          </a:xfrm>
          <a:prstGeom prst="rect">
            <a:avLst/>
          </a:prstGeom>
        </p:spPr>
      </p:pic>
      <p:pic>
        <p:nvPicPr>
          <p:cNvPr id="20" name="Graphic 19" descr="Computer">
            <a:extLst>
              <a:ext uri="{FF2B5EF4-FFF2-40B4-BE49-F238E27FC236}">
                <a16:creationId xmlns:a16="http://schemas.microsoft.com/office/drawing/2014/main" id="{66E62723-FE82-1544-801A-2CBAB5960BB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303198" y="3295115"/>
            <a:ext cx="914400" cy="914400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358BFD-AAFE-2041-AE2B-0319A83EC5E2}"/>
              </a:ext>
            </a:extLst>
          </p:cNvPr>
          <p:cNvCxnSpPr>
            <a:cxnSpLocks/>
          </p:cNvCxnSpPr>
          <p:nvPr/>
        </p:nvCxnSpPr>
        <p:spPr>
          <a:xfrm flipV="1">
            <a:off x="5740970" y="3532933"/>
            <a:ext cx="0" cy="1600450"/>
          </a:xfrm>
          <a:prstGeom prst="line">
            <a:avLst/>
          </a:prstGeom>
          <a:noFill/>
          <a:ln w="25400" cap="flat">
            <a:solidFill>
              <a:srgbClr val="74767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1EDF46E-11B7-C340-A5FF-7A95C9348AB7}"/>
              </a:ext>
            </a:extLst>
          </p:cNvPr>
          <p:cNvCxnSpPr>
            <a:cxnSpLocks/>
          </p:cNvCxnSpPr>
          <p:nvPr/>
        </p:nvCxnSpPr>
        <p:spPr>
          <a:xfrm flipH="1">
            <a:off x="7262937" y="3160847"/>
            <a:ext cx="1820410" cy="0"/>
          </a:xfrm>
          <a:prstGeom prst="line">
            <a:avLst/>
          </a:prstGeom>
          <a:noFill/>
          <a:ln w="25400" cap="flat">
            <a:solidFill>
              <a:srgbClr val="74767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6DF2FC8-86C6-F84D-B9D7-1ABAAFBBD0AC}"/>
              </a:ext>
            </a:extLst>
          </p:cNvPr>
          <p:cNvCxnSpPr>
            <a:cxnSpLocks/>
          </p:cNvCxnSpPr>
          <p:nvPr/>
        </p:nvCxnSpPr>
        <p:spPr>
          <a:xfrm flipH="1">
            <a:off x="2778155" y="3078356"/>
            <a:ext cx="1684788" cy="0"/>
          </a:xfrm>
          <a:prstGeom prst="line">
            <a:avLst/>
          </a:prstGeom>
          <a:noFill/>
          <a:ln w="25400" cap="flat">
            <a:solidFill>
              <a:srgbClr val="74767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EBE2195-A29D-FF42-A7AD-CADFB3595B0F}"/>
              </a:ext>
            </a:extLst>
          </p:cNvPr>
          <p:cNvCxnSpPr>
            <a:cxnSpLocks/>
          </p:cNvCxnSpPr>
          <p:nvPr/>
        </p:nvCxnSpPr>
        <p:spPr>
          <a:xfrm>
            <a:off x="9267143" y="1325461"/>
            <a:ext cx="0" cy="3807921"/>
          </a:xfrm>
          <a:prstGeom prst="line">
            <a:avLst/>
          </a:prstGeom>
          <a:noFill/>
          <a:ln w="25400" cap="flat">
            <a:solidFill>
              <a:srgbClr val="74767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DC3754B-AE7B-9542-BCEB-F354FCFC0487}"/>
              </a:ext>
            </a:extLst>
          </p:cNvPr>
          <p:cNvCxnSpPr>
            <a:cxnSpLocks/>
          </p:cNvCxnSpPr>
          <p:nvPr/>
        </p:nvCxnSpPr>
        <p:spPr>
          <a:xfrm>
            <a:off x="2365799" y="1325461"/>
            <a:ext cx="0" cy="3807921"/>
          </a:xfrm>
          <a:prstGeom prst="line">
            <a:avLst/>
          </a:prstGeom>
          <a:noFill/>
          <a:ln w="25400" cap="flat">
            <a:solidFill>
              <a:srgbClr val="74767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521C5FD-A268-6F4C-B8A6-965A865BEA6C}"/>
              </a:ext>
            </a:extLst>
          </p:cNvPr>
          <p:cNvSpPr txBox="1"/>
          <p:nvPr/>
        </p:nvSpPr>
        <p:spPr>
          <a:xfrm>
            <a:off x="6000896" y="3937645"/>
            <a:ext cx="2494529" cy="5437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defTabSz="825500" hangingPunct="0">
              <a:spcBef>
                <a:spcPts val="2000"/>
              </a:spcBef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PostgreSQL Internal Authentication</a:t>
            </a:r>
            <a:endParaRPr kumimoji="0" lang="en-PK" sz="1200" b="0" i="1" u="none" strike="noStrike" cap="none" spc="39" normalizeH="0" baseline="0" dirty="0">
              <a:ln>
                <a:noFill/>
              </a:ln>
              <a:solidFill>
                <a:srgbClr val="5C5C5C"/>
              </a:solidFill>
              <a:effectLst/>
              <a:uFillTx/>
              <a:latin typeface="Iowan Old Style Roman"/>
              <a:ea typeface="Iowan Old Style Roman"/>
              <a:cs typeface="Iowan Old Style Roman"/>
              <a:sym typeface="Iowan Old Style Roman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25F8BBA-D092-9641-8451-E836E23CF8C0}"/>
              </a:ext>
            </a:extLst>
          </p:cNvPr>
          <p:cNvSpPr txBox="1"/>
          <p:nvPr/>
        </p:nvSpPr>
        <p:spPr>
          <a:xfrm>
            <a:off x="7490461" y="2649953"/>
            <a:ext cx="1331647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>
              <a:lnSpc>
                <a:spcPct val="200000"/>
              </a:lnSpc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OS Authentica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E83256E-EC6F-9641-9D6B-992A9F3EA532}"/>
              </a:ext>
            </a:extLst>
          </p:cNvPr>
          <p:cNvSpPr txBox="1"/>
          <p:nvPr/>
        </p:nvSpPr>
        <p:spPr>
          <a:xfrm>
            <a:off x="2755951" y="2563088"/>
            <a:ext cx="1671483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>
              <a:lnSpc>
                <a:spcPct val="200000"/>
              </a:lnSpc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External Authentic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F29AE54-7E8D-EC4E-A78D-DEC43BE3687B}"/>
              </a:ext>
            </a:extLst>
          </p:cNvPr>
          <p:cNvSpPr/>
          <p:nvPr/>
        </p:nvSpPr>
        <p:spPr>
          <a:xfrm>
            <a:off x="5973086" y="4481384"/>
            <a:ext cx="196187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st</a:t>
            </a:r>
          </a:p>
          <a:p>
            <a:pPr marL="285750" indent="-28575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ject</a:t>
            </a:r>
          </a:p>
          <a:p>
            <a:pPr marL="285750" indent="-28575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d5 </a:t>
            </a:r>
          </a:p>
          <a:p>
            <a:pPr marL="285750" indent="-28575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AM</a:t>
            </a:r>
          </a:p>
          <a:p>
            <a:pPr marL="285750" indent="-28575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</a:t>
            </a:r>
            <a:endParaRPr lang="en-US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Google Shape;152;p16">
            <a:extLst>
              <a:ext uri="{FF2B5EF4-FFF2-40B4-BE49-F238E27FC236}">
                <a16:creationId xmlns:a16="http://schemas.microsoft.com/office/drawing/2014/main" id="{D7E39135-97CF-C14E-9196-574675E78153}"/>
              </a:ext>
            </a:extLst>
          </p:cNvPr>
          <p:cNvSpPr txBox="1"/>
          <p:nvPr/>
        </p:nvSpPr>
        <p:spPr>
          <a:xfrm>
            <a:off x="7045426" y="2218451"/>
            <a:ext cx="1401077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+mj-lt"/>
              <a:buAutoNum type="arabicPeriod"/>
              <a:defRPr sz="1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685800" lvl="1" indent="-22860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M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er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F2217A2-07F4-5C44-BE85-3EA586314BAA}"/>
              </a:ext>
            </a:extLst>
          </p:cNvPr>
          <p:cNvSpPr/>
          <p:nvPr/>
        </p:nvSpPr>
        <p:spPr>
          <a:xfrm>
            <a:off x="2388193" y="1994855"/>
            <a:ext cx="22479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lvl="1" indent="-45720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SSAPI 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SPI 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DAP 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US</a:t>
            </a:r>
          </a:p>
        </p:txBody>
      </p:sp>
    </p:spTree>
    <p:extLst>
      <p:ext uri="{BB962C8B-B14F-4D97-AF65-F5344CB8AC3E}">
        <p14:creationId xmlns:p14="http://schemas.microsoft.com/office/powerpoint/2010/main" val="308593667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155D65-2D26-4047-8FF2-C01988D010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Courier New" panose="02070309020205020404" pitchFamily="49" charset="0"/>
              </a:rPr>
              <a:t>PostgreSQL has a configuration file called “</a:t>
            </a:r>
            <a:r>
              <a:rPr lang="en-GB" dirty="0" err="1">
                <a:solidFill>
                  <a:srgbClr val="0070C0"/>
                </a:solidFill>
                <a:cs typeface="Courier New" panose="02070309020205020404" pitchFamily="49" charset="0"/>
              </a:rPr>
              <a:t>pg_hba.conf</a:t>
            </a:r>
            <a:r>
              <a:rPr lang="en-GB" dirty="0">
                <a:cs typeface="Courier New" panose="02070309020205020404" pitchFamily="49" charset="0"/>
              </a:rPr>
              <a:t>”</a:t>
            </a:r>
          </a:p>
          <a:p>
            <a:pPr marL="628650" lvl="1" indent="-285750"/>
            <a:r>
              <a:rPr lang="en-GB" dirty="0">
                <a:cs typeface="Courier New" panose="02070309020205020404" pitchFamily="49" charset="0"/>
              </a:rPr>
              <a:t>Authentication for Specific Users / All</a:t>
            </a:r>
          </a:p>
          <a:p>
            <a:pPr marL="628650" lvl="1" indent="-285750"/>
            <a:r>
              <a:rPr lang="en-GB" dirty="0">
                <a:cs typeface="Courier New" panose="02070309020205020404" pitchFamily="49" charset="0"/>
              </a:rPr>
              <a:t>Authentication for </a:t>
            </a:r>
            <a:r>
              <a:rPr lang="en-GB" dirty="0">
                <a:solidFill>
                  <a:srgbClr val="0070C0"/>
                </a:solidFill>
                <a:cs typeface="Courier New" panose="02070309020205020404" pitchFamily="49" charset="0"/>
              </a:rPr>
              <a:t>IP  </a:t>
            </a:r>
          </a:p>
          <a:p>
            <a:pPr marL="628650" lvl="1" indent="-285750"/>
            <a:r>
              <a:rPr lang="en-GB" dirty="0">
                <a:cs typeface="Courier New" panose="02070309020205020404" pitchFamily="49" charset="0"/>
              </a:rPr>
              <a:t>Authentication for </a:t>
            </a:r>
            <a:r>
              <a:rPr lang="en-GB" dirty="0">
                <a:solidFill>
                  <a:srgbClr val="0070C0"/>
                </a:solidFill>
                <a:cs typeface="Courier New" panose="02070309020205020404" pitchFamily="49" charset="0"/>
              </a:rPr>
              <a:t>Database / All</a:t>
            </a:r>
          </a:p>
          <a:p>
            <a:endParaRPr lang="en-GB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b="1" dirty="0" err="1">
                <a:solidFill>
                  <a:schemeClr val="tx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g_hba.conf</a:t>
            </a:r>
            <a:endParaRPr lang="en-GB" b="1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host    database  			  user  			address      auth-method  		[auth-options]</a:t>
            </a:r>
          </a:p>
          <a:p>
            <a:pPr fontAlgn="t"/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-+--------------- +-----------------+----------------+--------------+---------------</a:t>
            </a:r>
          </a:p>
          <a:p>
            <a:pPr fontAlgn="t"/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Local |		all		    |	   all		    |				  |		trust		</a:t>
            </a:r>
            <a:b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all 	    |	   all 			| 127.0.0.1/32   | 	trust</a:t>
            </a:r>
            <a:endParaRPr lang="en-PK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fontAlgn="t"/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postgres    |     postgres    | 192.168.1.1/24 | 	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md5</a:t>
            </a:r>
            <a:endParaRPr lang="en-PK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fontAlgn="t"/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host  | 	replication |     postgres 	| 127.0.0.1/32   | 	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md5</a:t>
            </a:r>
            <a:endParaRPr lang="en-PK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PK" dirty="0"/>
          </a:p>
        </p:txBody>
      </p:sp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sz="3200" dirty="0"/>
              <a:t>PostgreSQL Authentication Configuration</a:t>
            </a:r>
            <a:endParaRPr lang="en-US" sz="3000" dirty="0"/>
          </a:p>
        </p:txBody>
      </p:sp>
      <p:pic>
        <p:nvPicPr>
          <p:cNvPr id="5" name="Graphic 4" descr="Arrow: Straight">
            <a:extLst>
              <a:ext uri="{FF2B5EF4-FFF2-40B4-BE49-F238E27FC236}">
                <a16:creationId xmlns:a16="http://schemas.microsoft.com/office/drawing/2014/main" id="{92F56737-614F-5347-9C51-E898ABC078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30925" y="5409567"/>
            <a:ext cx="914400" cy="521898"/>
          </a:xfrm>
          <a:prstGeom prst="rect">
            <a:avLst/>
          </a:prstGeom>
        </p:spPr>
      </p:pic>
      <p:pic>
        <p:nvPicPr>
          <p:cNvPr id="6" name="Graphic 5" descr="Arrow: Straight">
            <a:extLst>
              <a:ext uri="{FF2B5EF4-FFF2-40B4-BE49-F238E27FC236}">
                <a16:creationId xmlns:a16="http://schemas.microsoft.com/office/drawing/2014/main" id="{6FBCF029-2886-4844-BF96-6CEAC0DD56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53290" y="4588610"/>
            <a:ext cx="914400" cy="52189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B48654B-B489-2E41-AB72-E1A6E59672C9}"/>
              </a:ext>
            </a:extLst>
          </p:cNvPr>
          <p:cNvSpPr txBox="1"/>
          <p:nvPr/>
        </p:nvSpPr>
        <p:spPr>
          <a:xfrm>
            <a:off x="2761227" y="3265664"/>
            <a:ext cx="625331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/>
              <a:t>"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cal</a:t>
            </a:r>
            <a:r>
              <a:rPr lang="en-GB" dirty="0"/>
              <a:t>" is for Unix domain socket connections only</a:t>
            </a:r>
            <a:endParaRPr lang="en-PK" dirty="0"/>
          </a:p>
        </p:txBody>
      </p:sp>
      <p:pic>
        <p:nvPicPr>
          <p:cNvPr id="7" name="Graphic 6" descr="Arrow: Straight">
            <a:extLst>
              <a:ext uri="{FF2B5EF4-FFF2-40B4-BE49-F238E27FC236}">
                <a16:creationId xmlns:a16="http://schemas.microsoft.com/office/drawing/2014/main" id="{D633028F-6DE0-4F4F-B217-103B8D99EE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9941756">
            <a:off x="643658" y="3930536"/>
            <a:ext cx="2290752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77125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1078ED-999D-8E4F-AE4D-B74B709DED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400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host        database  	      user  		address      	auth-method  		[auth-options]</a:t>
            </a: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------+-----------------+-----------------+----------------+-------------------------+--------------------</a:t>
            </a: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Local |		all		  |	   all			|		         |	trust		</a:t>
            </a:r>
            <a:b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all 	       |	   all 			| 127.0.0.1/32    | 	trust</a:t>
            </a:r>
            <a:endParaRPr lang="en-PK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fontAlgn="t"/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host  |  	postgres   |     postgres  	| 192.168.1.1/24  | 	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md5</a:t>
            </a:r>
            <a:endParaRPr lang="en-PK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0" name="Google Shape;150;p1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sz="3200" b="1" dirty="0">
                <a:solidFill>
                  <a:srgbClr val="0070C0"/>
                </a:solidFill>
              </a:rPr>
              <a:t>A</a:t>
            </a:r>
            <a:r>
              <a:rPr lang="en-GB" sz="3200" dirty="0"/>
              <a:t>uthentication - Configuration</a:t>
            </a:r>
            <a:endParaRPr lang="en-US" sz="3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098199-73C2-A749-944B-878BC1E8E338}"/>
              </a:ext>
            </a:extLst>
          </p:cNvPr>
          <p:cNvSpPr txBox="1"/>
          <p:nvPr/>
        </p:nvSpPr>
        <p:spPr>
          <a:xfrm>
            <a:off x="7716131" y="955415"/>
            <a:ext cx="4026309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i="1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grant@vagrant</a:t>
            </a:r>
            <a:r>
              <a:rPr lang="en-GB" sz="1200" i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GB" sz="1200" b="1" i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en-GB" sz="1200" i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i="1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i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ostgres </a:t>
            </a:r>
          </a:p>
          <a:p>
            <a:r>
              <a:rPr lang="en-GB" sz="1200" i="1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i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12.4)</a:t>
            </a:r>
          </a:p>
          <a:p>
            <a:r>
              <a:rPr lang="en-GB" sz="1200" i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 "help" for help.</a:t>
            </a:r>
          </a:p>
          <a:p>
            <a:endParaRPr lang="en-PK" sz="1200" i="1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D91ECF-3C91-D942-BDB4-7AEC9D2F3514}"/>
              </a:ext>
            </a:extLst>
          </p:cNvPr>
          <p:cNvSpPr txBox="1"/>
          <p:nvPr/>
        </p:nvSpPr>
        <p:spPr>
          <a:xfrm>
            <a:off x="2648200" y="5240810"/>
            <a:ext cx="6067433" cy="10156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grant@vagrant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GB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ostgres -h 10.0.2.1 -U postgres</a:t>
            </a: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ssword for user postgres: </a:t>
            </a:r>
          </a:p>
          <a:p>
            <a:r>
              <a:rPr lang="en-GB" sz="1200" dirty="0" err="1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sql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12.4)</a:t>
            </a: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 "help" for help.</a:t>
            </a:r>
          </a:p>
          <a:p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&gt; 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D5C57C-0BAF-2A43-9904-020A52C160E4}"/>
              </a:ext>
            </a:extLst>
          </p:cNvPr>
          <p:cNvSpPr txBox="1"/>
          <p:nvPr/>
        </p:nvSpPr>
        <p:spPr>
          <a:xfrm>
            <a:off x="1157748" y="583298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PK" dirty="0"/>
          </a:p>
        </p:txBody>
      </p:sp>
      <p:pic>
        <p:nvPicPr>
          <p:cNvPr id="11" name="Graphic 10" descr="Arrow: Straight">
            <a:extLst>
              <a:ext uri="{FF2B5EF4-FFF2-40B4-BE49-F238E27FC236}">
                <a16:creationId xmlns:a16="http://schemas.microsoft.com/office/drawing/2014/main" id="{EE9CF5E5-6058-2C45-8FDE-133EE4B4D2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81033">
            <a:off x="7143473" y="2545876"/>
            <a:ext cx="2935439" cy="521898"/>
          </a:xfrm>
          <a:prstGeom prst="rect">
            <a:avLst/>
          </a:prstGeom>
        </p:spPr>
      </p:pic>
      <p:pic>
        <p:nvPicPr>
          <p:cNvPr id="12" name="Graphic 11" descr="Arrow: Straight">
            <a:extLst>
              <a:ext uri="{FF2B5EF4-FFF2-40B4-BE49-F238E27FC236}">
                <a16:creationId xmlns:a16="http://schemas.microsoft.com/office/drawing/2014/main" id="{7A1A8AE4-4DBB-F747-B90F-2435DC9F35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6987747">
            <a:off x="6394069" y="4643776"/>
            <a:ext cx="880790" cy="5218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4A9E42D-7A83-8645-AD3C-E944BDEC7EF7}"/>
              </a:ext>
            </a:extLst>
          </p:cNvPr>
          <p:cNvSpPr txBox="1"/>
          <p:nvPr/>
        </p:nvSpPr>
        <p:spPr>
          <a:xfrm>
            <a:off x="257133" y="2376312"/>
            <a:ext cx="1173812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 err="1">
                <a:solidFill>
                  <a:schemeClr val="tx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g_hba.conf</a:t>
            </a:r>
            <a:endParaRPr lang="en-GB" sz="1200" b="1" dirty="0">
              <a:solidFill>
                <a:schemeClr val="tx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5FE7AF-CB34-3F4F-8F6E-0B6303FEB501}"/>
              </a:ext>
            </a:extLst>
          </p:cNvPr>
          <p:cNvSpPr txBox="1"/>
          <p:nvPr/>
        </p:nvSpPr>
        <p:spPr>
          <a:xfrm>
            <a:off x="8649050" y="4658235"/>
            <a:ext cx="290184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PK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mputer ip is “</a:t>
            </a:r>
            <a:r>
              <a:rPr lang="en-GB" sz="12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2.168.1.1”</a:t>
            </a:r>
            <a:endParaRPr lang="en-PK" sz="1200" dirty="0">
              <a:solidFill>
                <a:srgbClr val="0070C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4" name="Graphic 13" descr="Arrow: Straight">
            <a:extLst>
              <a:ext uri="{FF2B5EF4-FFF2-40B4-BE49-F238E27FC236}">
                <a16:creationId xmlns:a16="http://schemas.microsoft.com/office/drawing/2014/main" id="{4950A49E-EC7E-534A-BAA4-C9E98CEFBC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6987747">
            <a:off x="8426021" y="5154311"/>
            <a:ext cx="880790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91705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1_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24</TotalTime>
  <Words>1875</Words>
  <Application>Microsoft Macintosh PowerPoint</Application>
  <PresentationFormat>Widescreen</PresentationFormat>
  <Paragraphs>351</Paragraphs>
  <Slides>23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Zapf Dingbats</vt:lpstr>
      <vt:lpstr>Arial</vt:lpstr>
      <vt:lpstr>Wingdings</vt:lpstr>
      <vt:lpstr>Courier New</vt:lpstr>
      <vt:lpstr>黑体</vt:lpstr>
      <vt:lpstr>Iowan Old Style Roman</vt:lpstr>
      <vt:lpstr>1_PLE19 Master</vt:lpstr>
      <vt:lpstr>think-cell Slide</vt:lpstr>
      <vt:lpstr>PowerPoint Presentation</vt:lpstr>
      <vt:lpstr>PowerPoint Presentation</vt:lpstr>
      <vt:lpstr>Agenda</vt:lpstr>
      <vt:lpstr>PowerPoint Presentation</vt:lpstr>
      <vt:lpstr>PowerPoint Presentation</vt:lpstr>
      <vt:lpstr>AAA – (Authentication, Authorization and Accounting)</vt:lpstr>
      <vt:lpstr>Authentication</vt:lpstr>
      <vt:lpstr>PostgreSQL Authentication Configuration</vt:lpstr>
      <vt:lpstr>Authentication - Configuration</vt:lpstr>
      <vt:lpstr>Authentication – Configuration (Duplicate Entries)</vt:lpstr>
      <vt:lpstr>Authentication – Method (Reject / Missing)</vt:lpstr>
      <vt:lpstr>Authentication – Method (ident)</vt:lpstr>
      <vt:lpstr>Authorization</vt:lpstr>
      <vt:lpstr>Authorization - GRANT / REVOKE</vt:lpstr>
      <vt:lpstr>Row Level Security POLICIES</vt:lpstr>
      <vt:lpstr>Accounting</vt:lpstr>
      <vt:lpstr>Accounting (Auditing) </vt:lpstr>
      <vt:lpstr>Encryption</vt:lpstr>
      <vt:lpstr>Encryption - File system disk encryption</vt:lpstr>
      <vt:lpstr>Encryption  - pg_crypto 1/2</vt:lpstr>
      <vt:lpstr>Encryption  - pg_crypto (Password Verification) 2/2</vt:lpstr>
      <vt:lpstr>Security Best Practi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Title</dc:title>
  <dc:creator>david avery</dc:creator>
  <cp:lastModifiedBy>Ibrar Ahmed</cp:lastModifiedBy>
  <cp:revision>61</cp:revision>
  <cp:lastPrinted>2016-10-06T15:21:12Z</cp:lastPrinted>
  <dcterms:created xsi:type="dcterms:W3CDTF">2019-01-09T22:21:27Z</dcterms:created>
  <dcterms:modified xsi:type="dcterms:W3CDTF">2020-11-18T21:00:21Z</dcterms:modified>
</cp:coreProperties>
</file>